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4" r:id="rId1"/>
    <p:sldMasterId id="2147483860" r:id="rId2"/>
  </p:sldMasterIdLst>
  <p:notesMasterIdLst>
    <p:notesMasterId r:id="rId20"/>
  </p:notesMasterIdLst>
  <p:handoutMasterIdLst>
    <p:handoutMasterId r:id="rId21"/>
  </p:handoutMasterIdLst>
  <p:sldIdLst>
    <p:sldId id="902" r:id="rId3"/>
    <p:sldId id="932" r:id="rId4"/>
    <p:sldId id="933" r:id="rId5"/>
    <p:sldId id="934" r:id="rId6"/>
    <p:sldId id="935" r:id="rId7"/>
    <p:sldId id="936" r:id="rId8"/>
    <p:sldId id="937" r:id="rId9"/>
    <p:sldId id="938" r:id="rId10"/>
    <p:sldId id="939" r:id="rId11"/>
    <p:sldId id="940" r:id="rId12"/>
    <p:sldId id="941" r:id="rId13"/>
    <p:sldId id="942" r:id="rId14"/>
    <p:sldId id="943" r:id="rId15"/>
    <p:sldId id="944" r:id="rId16"/>
    <p:sldId id="945" r:id="rId17"/>
    <p:sldId id="946" r:id="rId18"/>
    <p:sldId id="872" r:id="rId19"/>
  </p:sldIdLst>
  <p:sldSz cx="6858000" cy="9906000" type="A4"/>
  <p:notesSz cx="6761163" cy="9942513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33CCCC"/>
    <a:srgbClr val="00CCFF"/>
    <a:srgbClr val="66FFFF"/>
    <a:srgbClr val="43D5D5"/>
    <a:srgbClr val="00FF00"/>
    <a:srgbClr val="A2CF45"/>
    <a:srgbClr val="102694"/>
    <a:srgbClr val="FFFF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62" autoAdjust="0"/>
    <p:restoredTop sz="99285" autoAdjust="0"/>
  </p:normalViewPr>
  <p:slideViewPr>
    <p:cSldViewPr>
      <p:cViewPr>
        <p:scale>
          <a:sx n="70" d="100"/>
          <a:sy n="70" d="100"/>
        </p:scale>
        <p:origin x="-1422" y="-72"/>
      </p:cViewPr>
      <p:guideLst>
        <p:guide orient="horz" pos="312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30575" cy="497603"/>
          </a:xfrm>
          <a:prstGeom prst="rect">
            <a:avLst/>
          </a:prstGeom>
        </p:spPr>
        <p:txBody>
          <a:bodyPr vert="horz" lIns="91283" tIns="45641" rIns="91283" bIns="45641" rtlCol="0"/>
          <a:lstStyle>
            <a:lvl1pPr algn="l">
              <a:defRPr sz="13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12" y="1"/>
            <a:ext cx="2930575" cy="497603"/>
          </a:xfrm>
          <a:prstGeom prst="rect">
            <a:avLst/>
          </a:prstGeom>
        </p:spPr>
        <p:txBody>
          <a:bodyPr vert="horz" lIns="91283" tIns="45641" rIns="91283" bIns="45641" rtlCol="0"/>
          <a:lstStyle>
            <a:lvl1pPr algn="r">
              <a:defRPr sz="1300" smtClean="0"/>
            </a:lvl1pPr>
          </a:lstStyle>
          <a:p>
            <a:pPr>
              <a:defRPr/>
            </a:pPr>
            <a:fld id="{231F418E-3C22-493F-B931-4DF7B540402C}" type="datetimeFigureOut">
              <a:rPr lang="ru-RU"/>
              <a:pPr>
                <a:defRPr/>
              </a:pPr>
              <a:t>04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3321"/>
            <a:ext cx="2930575" cy="497603"/>
          </a:xfrm>
          <a:prstGeom prst="rect">
            <a:avLst/>
          </a:prstGeom>
        </p:spPr>
        <p:txBody>
          <a:bodyPr vert="horz" lIns="91283" tIns="45641" rIns="91283" bIns="45641" rtlCol="0" anchor="b"/>
          <a:lstStyle>
            <a:lvl1pPr algn="l">
              <a:defRPr sz="13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12" y="9443321"/>
            <a:ext cx="2930575" cy="497603"/>
          </a:xfrm>
          <a:prstGeom prst="rect">
            <a:avLst/>
          </a:prstGeom>
        </p:spPr>
        <p:txBody>
          <a:bodyPr vert="horz" lIns="91283" tIns="45641" rIns="91283" bIns="45641" rtlCol="0" anchor="b"/>
          <a:lstStyle>
            <a:lvl1pPr algn="r">
              <a:defRPr sz="1300" smtClean="0"/>
            </a:lvl1pPr>
          </a:lstStyle>
          <a:p>
            <a:pPr>
              <a:defRPr/>
            </a:pPr>
            <a:fld id="{39C122D2-9DD7-4F85-91AC-6325543E54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065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30575" cy="49760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283" tIns="45641" rIns="91283" bIns="45641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9012" y="1"/>
            <a:ext cx="2930575" cy="49760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283" tIns="45641" rIns="91283" bIns="45641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88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90738" y="742950"/>
            <a:ext cx="257968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5802" y="4723251"/>
            <a:ext cx="5409562" cy="447365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283" tIns="45641" rIns="91283" bIns="456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3321"/>
            <a:ext cx="2930575" cy="49760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283" tIns="45641" rIns="91283" bIns="45641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9012" y="9443321"/>
            <a:ext cx="2930575" cy="49760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283" tIns="45641" rIns="91283" bIns="45641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1321876C-1686-4482-AEED-F601E955553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177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090738" y="742950"/>
            <a:ext cx="2579687" cy="3727450"/>
          </a:xfrm>
          <a:ln/>
        </p:spPr>
      </p:sp>
      <p:sp>
        <p:nvSpPr>
          <p:cNvPr id="819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8192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FD667C2-2F0E-4492-80BB-90F9AAD8267C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2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1925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20503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090738" y="742950"/>
            <a:ext cx="2579687" cy="3727450"/>
          </a:xfrm>
          <a:ln/>
        </p:spPr>
      </p:sp>
      <p:sp>
        <p:nvSpPr>
          <p:cNvPr id="9216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9216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0E775FD3-B07C-42C8-AEF3-F4DA225616A5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11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2165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80716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090738" y="742950"/>
            <a:ext cx="2579687" cy="3727450"/>
          </a:xfrm>
          <a:ln/>
        </p:spPr>
      </p:sp>
      <p:sp>
        <p:nvSpPr>
          <p:cNvPr id="9523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9523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F365D38E-C460-4C71-80D4-BA5EC1B81441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12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5237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2759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982788" y="742950"/>
            <a:ext cx="2795587" cy="3727450"/>
          </a:xfrm>
          <a:ln/>
        </p:spPr>
      </p:sp>
      <p:sp>
        <p:nvSpPr>
          <p:cNvPr id="9523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/>
          </a:p>
        </p:txBody>
      </p:sp>
      <p:sp>
        <p:nvSpPr>
          <p:cNvPr id="9523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F365D38E-C460-4C71-80D4-BA5EC1B81441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14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5237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07693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7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090738" y="742950"/>
            <a:ext cx="2579687" cy="3727450"/>
          </a:xfrm>
          <a:ln/>
        </p:spPr>
      </p:sp>
      <p:sp>
        <p:nvSpPr>
          <p:cNvPr id="357378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smtClean="0"/>
          </a:p>
        </p:txBody>
      </p:sp>
      <p:sp>
        <p:nvSpPr>
          <p:cNvPr id="35737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D7130EC-D45A-40E5-8883-39415C62E7F8}" type="slidenum">
              <a:rPr lang="en-US" smtClean="0">
                <a:solidFill>
                  <a:srgbClr val="000000"/>
                </a:solidFill>
              </a:rPr>
              <a:pPr/>
              <a:t>17</a:t>
            </a:fld>
            <a:endParaRPr lang="en-U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090738" y="742950"/>
            <a:ext cx="2579687" cy="3727450"/>
          </a:xfrm>
          <a:ln/>
        </p:spPr>
      </p:sp>
      <p:sp>
        <p:nvSpPr>
          <p:cNvPr id="82947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829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82CFBCCE-2B5A-4077-AB0D-C516E7CB8040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2949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2250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090738" y="742950"/>
            <a:ext cx="2579687" cy="3727450"/>
          </a:xfrm>
          <a:ln/>
        </p:spPr>
      </p:sp>
      <p:sp>
        <p:nvSpPr>
          <p:cNvPr id="8397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8397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B1A09D2-E1A1-41F2-A72A-3EF687CD1B85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3973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083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982788" y="742950"/>
            <a:ext cx="2795587" cy="3727450"/>
          </a:xfrm>
          <a:ln/>
        </p:spPr>
      </p:sp>
      <p:sp>
        <p:nvSpPr>
          <p:cNvPr id="8499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8499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175FFDCD-A203-43DA-915D-13E8E6B33360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5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4997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55229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982788" y="742950"/>
            <a:ext cx="2795587" cy="3727450"/>
          </a:xfrm>
          <a:ln/>
        </p:spPr>
      </p:sp>
      <p:sp>
        <p:nvSpPr>
          <p:cNvPr id="8601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86020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CB8564F9-90DC-4F4D-89F2-AF6EBC776E05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6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6021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39074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982788" y="742950"/>
            <a:ext cx="2795587" cy="3727450"/>
          </a:xfrm>
          <a:ln/>
        </p:spPr>
      </p:sp>
      <p:sp>
        <p:nvSpPr>
          <p:cNvPr id="870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870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2F8016D3-6D67-42D5-9EEC-8FAE106A0A9D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7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7045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6502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982788" y="742950"/>
            <a:ext cx="2795587" cy="3727450"/>
          </a:xfrm>
          <a:ln/>
        </p:spPr>
      </p:sp>
      <p:sp>
        <p:nvSpPr>
          <p:cNvPr id="8909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8909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A510CCD4-E8A0-45F3-BB76-C238185B4DA4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8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89093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468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982788" y="742950"/>
            <a:ext cx="2795587" cy="3727450"/>
          </a:xfrm>
          <a:ln/>
        </p:spPr>
      </p:sp>
      <p:sp>
        <p:nvSpPr>
          <p:cNvPr id="9011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9011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64001662-E9B4-4770-9BAD-DA35A61CC3C8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9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0117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31231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090738" y="742950"/>
            <a:ext cx="2579687" cy="3727450"/>
          </a:xfrm>
          <a:ln/>
        </p:spPr>
      </p:sp>
      <p:sp>
        <p:nvSpPr>
          <p:cNvPr id="9421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/>
          </a:p>
        </p:txBody>
      </p:sp>
      <p:sp>
        <p:nvSpPr>
          <p:cNvPr id="9421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9E37033F-2F56-444D-9197-7D59E4B4B896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algn="r" eaLnBrk="1" hangingPunct="1">
                <a:spcBef>
                  <a:spcPct val="0"/>
                </a:spcBef>
              </a:pPr>
              <a:t>10</a:t>
            </a:fld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4213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ru-RU" altLang="ru-RU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9018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0658" y="2040677"/>
            <a:ext cx="6172200" cy="6837892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3971C1BE-8791-4302-AFD0-F96A2DE86D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343959"/>
            <a:ext cx="1543050" cy="8571442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343959"/>
            <a:ext cx="4514850" cy="857144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AD882DAB-8419-4762-990A-D1802C97A7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43961"/>
            <a:ext cx="4857750" cy="1254302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342900" y="2077509"/>
            <a:ext cx="3028950" cy="683789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86150" y="2077509"/>
            <a:ext cx="3028950" cy="683789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20040F3F-444C-4CED-9E9E-B10A6CD8E2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43961"/>
            <a:ext cx="4857750" cy="1254302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342900" y="2077509"/>
            <a:ext cx="6172200" cy="6837892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  <a:endParaRPr lang="ru-RU" noProof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EB9C10CB-FE31-4600-A59F-DAD9E93230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43961"/>
            <a:ext cx="4857750" cy="1254302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342900" y="2077509"/>
            <a:ext cx="6172200" cy="6837892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50E99E7B-4D43-405E-AEF3-C0DED1DE12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dgm" preserve="1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43961"/>
            <a:ext cx="4857750" cy="1254302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342900" y="2077509"/>
            <a:ext cx="6172200" cy="6837892"/>
          </a:xfrm>
        </p:spPr>
        <p:txBody>
          <a:bodyPr/>
          <a:lstStyle/>
          <a:p>
            <a:pPr lvl="0"/>
            <a:r>
              <a:rPr lang="ru-RU" noProof="0" smtClean="0"/>
              <a:t>Вставка рисунка SmartArt</a:t>
            </a:r>
            <a:endParaRPr lang="ru-RU" noProof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9E296533-5E28-46C8-9103-1C80A710EF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14350" y="3077283"/>
            <a:ext cx="5829300" cy="212336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28700" y="5613400"/>
            <a:ext cx="4800600" cy="253153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608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871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735" y="6365522"/>
            <a:ext cx="5829300" cy="196744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41735" y="4198587"/>
            <a:ext cx="5829300" cy="216693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104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4290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8615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0493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217385"/>
            <a:ext cx="303014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14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70" y="2217385"/>
            <a:ext cx="303133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70" y="3141486"/>
            <a:ext cx="303133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577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4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1735" y="6365522"/>
            <a:ext cx="5829300" cy="1967442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41735" y="4198588"/>
            <a:ext cx="5829300" cy="2166936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F396EF7F-98A7-4509-8A87-0D91572190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7241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5661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1" y="394406"/>
            <a:ext cx="2256235" cy="16785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8" y="394406"/>
            <a:ext cx="3833813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1" y="2072923"/>
            <a:ext cx="2256235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655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6934201"/>
            <a:ext cx="4114800" cy="8186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7752823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988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1955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50" y="396701"/>
            <a:ext cx="1543050" cy="845220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396701"/>
            <a:ext cx="4514850" cy="845220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05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444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43961"/>
            <a:ext cx="4857750" cy="1254302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42900" y="2077509"/>
            <a:ext cx="3028950" cy="683789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86150" y="2077509"/>
            <a:ext cx="3028950" cy="683789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C11F5F3B-66FF-4D09-93F0-852EE625AE7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217386"/>
            <a:ext cx="303014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14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483771" y="2217386"/>
            <a:ext cx="303133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483771" y="3141486"/>
            <a:ext cx="303133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4AC99BF4-9CA4-4B01-AD47-C4AE4FB80F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43961"/>
            <a:ext cx="4857750" cy="1254302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Дата 2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39774888-45CF-4739-85EC-546AC6DA81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84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 algn="r">
              <a:defRPr smtClean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5AF442A2-0C1E-4F09-870F-EC7F94205AD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3" y="394407"/>
            <a:ext cx="2256235" cy="167851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681289" y="394408"/>
            <a:ext cx="3833813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42903" y="2072923"/>
            <a:ext cx="2256235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E3CA635A-A948-4DC9-B57A-7849365B2B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4216" y="6934202"/>
            <a:ext cx="4114800" cy="818622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344216" y="7752824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E142FA77-5BC1-47D2-867D-EF1E751768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3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43961"/>
            <a:ext cx="4857750" cy="1254302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2286003" y="9117191"/>
            <a:ext cx="1284685" cy="419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23072" y="9133243"/>
            <a:ext cx="1733550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337573" y="9133243"/>
            <a:ext cx="1212056" cy="4196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6D756A1C-1739-4962-BE6B-AF209AE396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816" name="Object 616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3" y="2"/>
          <a:ext cx="119063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6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2"/>
                        <a:ext cx="119063" cy="22930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9" name="Freeform 35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5187557" y="687918"/>
            <a:ext cx="1597819" cy="66499"/>
          </a:xfrm>
          <a:custGeom>
            <a:avLst/>
            <a:gdLst>
              <a:gd name="T0" fmla="*/ 0 w 1358"/>
              <a:gd name="T1" fmla="*/ 2 h 33"/>
              <a:gd name="T2" fmla="*/ 1358 w 1358"/>
              <a:gd name="T3" fmla="*/ 0 h 33"/>
              <a:gd name="T4" fmla="*/ 1356 w 1358"/>
              <a:gd name="T5" fmla="*/ 32 h 33"/>
              <a:gd name="T6" fmla="*/ 60 w 1358"/>
              <a:gd name="T7" fmla="*/ 33 h 33"/>
              <a:gd name="T8" fmla="*/ 0 w 1358"/>
              <a:gd name="T9" fmla="*/ 2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58" h="33">
                <a:moveTo>
                  <a:pt x="0" y="2"/>
                </a:moveTo>
                <a:lnTo>
                  <a:pt x="1358" y="0"/>
                </a:lnTo>
                <a:lnTo>
                  <a:pt x="1356" y="32"/>
                </a:lnTo>
                <a:lnTo>
                  <a:pt x="60" y="33"/>
                </a:lnTo>
                <a:lnTo>
                  <a:pt x="0" y="2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>
            <a:noFill/>
          </a:ln>
          <a:effectLst/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1819" name="Rectangle 3"/>
          <p:cNvSpPr>
            <a:spLocks noGrp="1" noChangeArrowheads="1"/>
          </p:cNvSpPr>
          <p:nvPr userDrawn="1">
            <p:ph type="body" idx="1"/>
            <p:custDataLst>
              <p:tags r:id="rId19"/>
            </p:custDataLst>
          </p:nvPr>
        </p:nvSpPr>
        <p:spPr bwMode="gray">
          <a:xfrm>
            <a:off x="342900" y="2077509"/>
            <a:ext cx="6172200" cy="6837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rgbClr val="FFFFFF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rgbClr val="000000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rgbClr val="000000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rgbClr val="000000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2900" y="2311402"/>
            <a:ext cx="6172200" cy="6537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42900" y="9181396"/>
            <a:ext cx="1600200" cy="5274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3BB3A8D-FF51-4238-AE80-603A8F385B5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04.05.2023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343150" y="9181396"/>
            <a:ext cx="2171700" cy="5274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4914900" y="9181396"/>
            <a:ext cx="1600200" cy="5274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956CA7ED-84ED-40E4-B1C0-2FDB36AE83B9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49761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Relationship Id="rId5" Type="http://schemas.microsoft.com/office/2007/relationships/hdphoto" Target="../media/hdphoto1.wdp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6.png"/><Relationship Id="rId4" Type="http://schemas.microsoft.com/office/2007/relationships/hdphoto" Target="../media/hdphoto2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3.jpe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32.gif"/><Relationship Id="rId5" Type="http://schemas.openxmlformats.org/officeDocument/2006/relationships/hyperlink" Target="http://www.taishet.irkmo.ru/" TargetMode="External"/><Relationship Id="rId4" Type="http://schemas.openxmlformats.org/officeDocument/2006/relationships/notesSlide" Target="../notesSlides/notesSlide13.xml"/><Relationship Id="rId9" Type="http://schemas.microsoft.com/office/2007/relationships/hdphoto" Target="../media/hdphoto3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7.pn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https://a.d-cd.net/91e675cs-960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3706" y="0"/>
            <a:ext cx="5544294" cy="99060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0" y="1442610"/>
            <a:ext cx="1340768" cy="8463390"/>
          </a:xfrm>
          <a:prstGeom prst="rect">
            <a:avLst/>
          </a:prstGeom>
          <a:solidFill>
            <a:srgbClr val="43D5D5"/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2600" b="1" dirty="0" smtClean="0">
                <a:solidFill>
                  <a:schemeClr val="tx2">
                    <a:lumMod val="25000"/>
                  </a:schemeClr>
                </a:solidFill>
              </a:rPr>
              <a:t> Инвестиционные площадки муниципального образования </a:t>
            </a:r>
          </a:p>
          <a:p>
            <a:pPr algn="ctr"/>
            <a:r>
              <a:rPr lang="ru-RU" sz="2600" b="1" dirty="0" smtClean="0">
                <a:solidFill>
                  <a:schemeClr val="tx2">
                    <a:lumMod val="25000"/>
                  </a:schemeClr>
                </a:solidFill>
              </a:rPr>
              <a:t>«</a:t>
            </a:r>
            <a:r>
              <a:rPr lang="ru-RU" sz="2600" b="1" dirty="0" err="1" smtClean="0">
                <a:solidFill>
                  <a:schemeClr val="tx2">
                    <a:lumMod val="25000"/>
                  </a:schemeClr>
                </a:solidFill>
              </a:rPr>
              <a:t>Тайшетский</a:t>
            </a:r>
            <a:r>
              <a:rPr lang="ru-RU" sz="2600" b="1" dirty="0" smtClean="0">
                <a:solidFill>
                  <a:schemeClr val="tx2">
                    <a:lumMod val="25000"/>
                  </a:schemeClr>
                </a:solidFill>
              </a:rPr>
              <a:t> район</a:t>
            </a:r>
            <a:r>
              <a:rPr lang="ru-RU" sz="2800" b="1" dirty="0" smtClean="0">
                <a:solidFill>
                  <a:schemeClr val="tx2">
                    <a:lumMod val="25000"/>
                  </a:schemeClr>
                </a:solidFill>
              </a:rPr>
              <a:t>»</a:t>
            </a:r>
            <a:endParaRPr lang="ru-RU" sz="2800" b="1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86324" y="0"/>
            <a:ext cx="17145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chemeClr val="tx2">
                    <a:lumMod val="25000"/>
                  </a:schemeClr>
                </a:solidFill>
              </a:rPr>
              <a:t>2022 год</a:t>
            </a:r>
            <a:endParaRPr lang="ru-RU" sz="2800" b="1" dirty="0">
              <a:solidFill>
                <a:schemeClr val="tx2">
                  <a:lumMod val="25000"/>
                </a:schemeClr>
              </a:solidFill>
            </a:endParaRPr>
          </a:p>
        </p:txBody>
      </p:sp>
      <p:pic>
        <p:nvPicPr>
          <p:cNvPr id="8" name="Picture 2" descr="http://taishet.irkmo.ru/bitrix/templates/taishet/img/gerb202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88956" y="-9836"/>
            <a:ext cx="1994036" cy="1866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92" name="Рисунок 8" descr="1.b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6953120"/>
            <a:ext cx="3505200" cy="2072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8244" name="Rectangle 7"/>
          <p:cNvSpPr>
            <a:spLocks noRot="1" noChangeArrowheads="1"/>
          </p:cNvSpPr>
          <p:nvPr/>
        </p:nvSpPr>
        <p:spPr bwMode="auto">
          <a:xfrm>
            <a:off x="0" y="1129904"/>
            <a:ext cx="6858000" cy="851296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Новобирюсин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городское поселение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</a:t>
            </a:r>
          </a:p>
        </p:txBody>
      </p:sp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565812"/>
            <a:ext cx="6858000" cy="56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</a:t>
            </a: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9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8863807"/>
            <a:ext cx="6858000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Новобирюсин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образование, тел. 8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9914326531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лицо: </a:t>
            </a: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Наврозова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Ирина </a:t>
            </a: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Эйвальдтовна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pic>
        <p:nvPicPr>
          <p:cNvPr id="49193" name="Picture 41" descr="C:\Users\Тютрина.GFUPOST\Desktop\Паспорт 2016\ОТВЕТЫ\Новобирюсинск площадка\20170407_092458_resized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 r="3802" b="35419"/>
          <a:stretch>
            <a:fillRect/>
          </a:stretch>
        </p:blipFill>
        <p:spPr bwMode="auto">
          <a:xfrm>
            <a:off x="0" y="6953118"/>
            <a:ext cx="3429000" cy="191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1221984"/>
              </p:ext>
            </p:extLst>
          </p:nvPr>
        </p:nvGraphicFramePr>
        <p:xfrm>
          <a:off x="0" y="1832653"/>
          <a:ext cx="6858000" cy="5655937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84175"/>
                <a:gridCol w="4869161"/>
              </a:tblGrid>
              <a:tr h="545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№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/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Характеристика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Свободная площадка</a:t>
                      </a:r>
                    </a:p>
                  </a:txBody>
                  <a:tcPr marL="87086" marR="87086" marT="49531" marB="49531" horzOverflow="overflow"/>
                </a:tc>
              </a:tr>
              <a:tr h="3960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1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Расположение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ркутская обл.,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айшетский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район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.п.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овобирюсинс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1881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2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Удаленность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От областного центра 1000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т центра муниципального образования – 2,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От ближайших производственных объектов- 0,0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От ближайших жилых домов – 0,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 От автодорог федерального назначения – 160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. От ж/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станции – 1,5 км</a:t>
                      </a:r>
                    </a:p>
                  </a:txBody>
                  <a:tcPr marL="24191" marR="24191" marT="0" marB="0" horzOverflow="overflow"/>
                </a:tc>
              </a:tr>
              <a:tr h="503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3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Наличие подъездных путей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Ж/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нет)</a:t>
                      </a:r>
                    </a:p>
                  </a:txBody>
                  <a:tcPr marL="24191" marR="24191" marT="0" marB="0" horzOverflow="overflow"/>
                </a:tc>
              </a:tr>
              <a:tr h="10181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4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лощадки 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Площадь – 8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Строение -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Возможность расширения – нет</a:t>
                      </a:r>
                    </a:p>
                  </a:txBody>
                  <a:tcPr marL="24191" marR="24191" marT="0" marB="0" horzOverflow="overflow"/>
                </a:tc>
              </a:tr>
              <a:tr h="9901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5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лощадки 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ид собственности – 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сударственная 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5">
                              <a:lumMod val="10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разграниченн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10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бремен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Категория земель – земли промышленности</a:t>
                      </a:r>
                    </a:p>
                  </a:txBody>
                  <a:tcPr marL="24191" marR="24191" marT="0" marB="0" horzOverflow="overflow"/>
                </a:tc>
              </a:tr>
              <a:tr h="10143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6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инфраструктуры 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Электроснабж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Связь –  сотовая</a:t>
                      </a: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pic>
        <p:nvPicPr>
          <p:cNvPr id="10" name="Рисунок 12" descr="нб.jpg"/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1" r="38570"/>
          <a:stretch/>
        </p:blipFill>
        <p:spPr bwMode="auto">
          <a:xfrm>
            <a:off x="4725144" y="1555554"/>
            <a:ext cx="2027348" cy="532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Восьмиугольник 11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40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990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Рисунок 8" descr="Рисунок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3" b="35896"/>
          <a:stretch>
            <a:fillRect/>
          </a:stretch>
        </p:blipFill>
        <p:spPr bwMode="auto">
          <a:xfrm>
            <a:off x="0" y="7008150"/>
            <a:ext cx="6858000" cy="207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733679"/>
              </p:ext>
            </p:extLst>
          </p:nvPr>
        </p:nvGraphicFramePr>
        <p:xfrm>
          <a:off x="0" y="1916707"/>
          <a:ext cx="6858000" cy="5429382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84175"/>
                <a:gridCol w="4869161"/>
              </a:tblGrid>
              <a:tr h="5239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</a:tr>
              <a:tr h="3801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ркутская обл.,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айшетский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район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. Покровка</a:t>
                      </a:r>
                    </a:p>
                  </a:txBody>
                  <a:tcPr marL="24191" marR="24191" marT="0" marB="0" horzOverflow="overflow"/>
                </a:tc>
              </a:tr>
              <a:tr h="11405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От областного центра 740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т центра муниципального образования – 10,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От ближайших производственных объектов- 23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От ближайших жилых домов – 10,3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 От автодорог федерального назначения – 5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. От ж/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станции – 60 км</a:t>
                      </a:r>
                    </a:p>
                  </a:txBody>
                  <a:tcPr marL="24191" marR="24191" marT="0" marB="0" horzOverflow="overflow"/>
                </a:tc>
              </a:tr>
              <a:tr h="4831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Ж/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нет)</a:t>
                      </a:r>
                    </a:p>
                  </a:txBody>
                  <a:tcPr marL="24191" marR="24191" marT="0" marB="0" horzOverflow="overflow"/>
                </a:tc>
              </a:tr>
              <a:tr h="9773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Площадь – 2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Строение – разрушено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Возможность расширения – нет</a:t>
                      </a:r>
                    </a:p>
                  </a:txBody>
                  <a:tcPr marL="24191" marR="24191" marT="0" marB="0" horzOverflow="overflow"/>
                </a:tc>
              </a:tr>
              <a:tr h="950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ид собственности – государственная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разграниченн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бремен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Категория земель – земли населенных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пунктов</a:t>
                      </a:r>
                    </a:p>
                  </a:txBody>
                  <a:tcPr marL="24191" marR="24191" marT="0" marB="0" horzOverflow="overflow"/>
                </a:tc>
              </a:tr>
              <a:tr h="9737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Электроснабжение – есть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Связь –  сотовая</a:t>
                      </a: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sp>
        <p:nvSpPr>
          <p:cNvPr id="138244" name="Rectangle 7"/>
          <p:cNvSpPr>
            <a:spLocks noRot="1" noChangeArrowheads="1"/>
          </p:cNvSpPr>
          <p:nvPr/>
        </p:nvSpPr>
        <p:spPr bwMode="auto">
          <a:xfrm>
            <a:off x="0" y="1129904"/>
            <a:ext cx="6858000" cy="851296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Рождественское сельское поселе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Бывшая МТФ (молочно-товарная ферма) </a:t>
            </a:r>
          </a:p>
        </p:txBody>
      </p:sp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565812"/>
            <a:ext cx="6858000" cy="56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</a:t>
            </a:r>
            <a:r>
              <a:rPr lang="ru-RU" sz="2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10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9080500"/>
            <a:ext cx="6858000" cy="738664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Рождественское муниципальное образование, тел. 8 (39563) 6-62-47,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8-924-619-33-54 Контактное лицо: Полевой Николай Николаевич</a:t>
            </a:r>
          </a:p>
        </p:txBody>
      </p:sp>
      <p:pic>
        <p:nvPicPr>
          <p:cNvPr id="47144" name="Рисунок 10" descr="карта5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14" r="34082"/>
          <a:stretch>
            <a:fillRect/>
          </a:stretch>
        </p:blipFill>
        <p:spPr bwMode="auto">
          <a:xfrm>
            <a:off x="4572000" y="1881454"/>
            <a:ext cx="2571750" cy="5499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Восьмиугольник 9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42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12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03" t="15386" r="-18306" b="3845"/>
          <a:stretch/>
        </p:blipFill>
        <p:spPr bwMode="auto">
          <a:xfrm>
            <a:off x="831316" y="7215251"/>
            <a:ext cx="6048000" cy="2105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7163770"/>
              </p:ext>
            </p:extLst>
          </p:nvPr>
        </p:nvGraphicFramePr>
        <p:xfrm>
          <a:off x="20026" y="1858437"/>
          <a:ext cx="6858000" cy="5808532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84175"/>
                <a:gridCol w="4869161"/>
              </a:tblGrid>
              <a:tr h="545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№ 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/</a:t>
                      </a: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Характеристика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Свободная площадка</a:t>
                      </a:r>
                    </a:p>
                  </a:txBody>
                  <a:tcPr marL="87086" marR="87086" marT="49524" marB="49524" horzOverflow="overflow"/>
                </a:tc>
              </a:tr>
              <a:tr h="5486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1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Расположение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ркутская обл.,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айшетский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район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.Мирный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северо-западная часть поселка,  135 м  от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л.Больничная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145 м на юго-запад от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.Бирюс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1881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2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Удаленность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 областного центра 851,6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т центра муниципального образования – 18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От ближайших производственных объектов- 0,1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От ближайших жилых домов – 0,15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 От автодорог федерального назначения – 1 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. От ж/д станции – 2 км</a:t>
                      </a:r>
                    </a:p>
                  </a:txBody>
                  <a:tcPr marL="24191" marR="24191" marT="0" marB="0" horzOverflow="overflow"/>
                </a:tc>
              </a:tr>
              <a:tr h="503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3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Наличие подъездных путей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Ж/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имеются)</a:t>
                      </a:r>
                    </a:p>
                  </a:txBody>
                  <a:tcPr marL="24191" marR="24191" marT="0" marB="0" horzOverflow="overflow"/>
                </a:tc>
              </a:tr>
              <a:tr h="10181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4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лощадки 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Площадь – 2,478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Строение -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Возможность расширения – есть</a:t>
                      </a:r>
                    </a:p>
                  </a:txBody>
                  <a:tcPr marL="24191" marR="24191" marT="0" marB="0" horzOverflow="overflow"/>
                </a:tc>
              </a:tr>
              <a:tr h="9901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5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площадки 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ид собственности – государственна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неразграниченна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бремен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Категория земель – земли населенных пунктов</a:t>
                      </a:r>
                    </a:p>
                  </a:txBody>
                  <a:tcPr marL="24191" marR="24191" marT="0" marB="0" horzOverflow="overflow"/>
                </a:tc>
              </a:tr>
              <a:tr h="10143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6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</a:rPr>
                        <a:t>инфраструктуры </a:t>
                      </a:r>
                    </a:p>
                  </a:txBody>
                  <a:tcPr marL="87086" marR="87086" marT="49524" marB="49524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Электроснабжение – имеетс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Связь –  сотовая</a:t>
                      </a: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sp>
        <p:nvSpPr>
          <p:cNvPr id="138244" name="Rectangle 7"/>
          <p:cNvSpPr>
            <a:spLocks noRot="1" noChangeArrowheads="1"/>
          </p:cNvSpPr>
          <p:nvPr/>
        </p:nvSpPr>
        <p:spPr bwMode="auto">
          <a:xfrm>
            <a:off x="0" y="1129904"/>
            <a:ext cx="6858000" cy="851296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 </a:t>
            </a:r>
            <a:r>
              <a:rPr lang="ru-RU" sz="12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ирнинское</a:t>
            </a: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сельское поселение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</a:t>
            </a:r>
          </a:p>
        </p:txBody>
      </p:sp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565812"/>
            <a:ext cx="6858000" cy="56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</a:t>
            </a:r>
            <a:r>
              <a:rPr lang="ru-RU" sz="2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11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6103" y="9105781"/>
            <a:ext cx="6858000" cy="738664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формация: </a:t>
            </a: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ирнинское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образование, тел. 8 (39563)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9-37-58; 8-924-716-86-09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лицо: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Белоглазова Ирина Вадимовна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pic>
        <p:nvPicPr>
          <p:cNvPr id="8" name="Рисунок 20" descr="карта_ЧМО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65" r="38033"/>
          <a:stretch/>
        </p:blipFill>
        <p:spPr bwMode="auto">
          <a:xfrm>
            <a:off x="4874561" y="2707900"/>
            <a:ext cx="2086708" cy="494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олилиния 3"/>
          <p:cNvSpPr/>
          <p:nvPr/>
        </p:nvSpPr>
        <p:spPr>
          <a:xfrm>
            <a:off x="5844901" y="3949534"/>
            <a:ext cx="292069" cy="301388"/>
          </a:xfrm>
          <a:custGeom>
            <a:avLst/>
            <a:gdLst>
              <a:gd name="connsiteX0" fmla="*/ 71252 w 201880"/>
              <a:gd name="connsiteY0" fmla="*/ 59376 h 273132"/>
              <a:gd name="connsiteX1" fmla="*/ 71252 w 201880"/>
              <a:gd name="connsiteY1" fmla="*/ 59376 h 273132"/>
              <a:gd name="connsiteX2" fmla="*/ 154379 w 201880"/>
              <a:gd name="connsiteY2" fmla="*/ 118753 h 273132"/>
              <a:gd name="connsiteX3" fmla="*/ 201880 w 201880"/>
              <a:gd name="connsiteY3" fmla="*/ 190005 h 273132"/>
              <a:gd name="connsiteX4" fmla="*/ 190005 w 201880"/>
              <a:gd name="connsiteY4" fmla="*/ 261257 h 273132"/>
              <a:gd name="connsiteX5" fmla="*/ 154379 w 201880"/>
              <a:gd name="connsiteY5" fmla="*/ 273132 h 273132"/>
              <a:gd name="connsiteX6" fmla="*/ 71252 w 201880"/>
              <a:gd name="connsiteY6" fmla="*/ 261257 h 273132"/>
              <a:gd name="connsiteX7" fmla="*/ 59376 w 201880"/>
              <a:gd name="connsiteY7" fmla="*/ 225631 h 273132"/>
              <a:gd name="connsiteX8" fmla="*/ 11875 w 201880"/>
              <a:gd name="connsiteY8" fmla="*/ 154379 h 273132"/>
              <a:gd name="connsiteX9" fmla="*/ 0 w 201880"/>
              <a:gd name="connsiteY9" fmla="*/ 83127 h 273132"/>
              <a:gd name="connsiteX10" fmla="*/ 47501 w 201880"/>
              <a:gd name="connsiteY10" fmla="*/ 23750 h 273132"/>
              <a:gd name="connsiteX11" fmla="*/ 59376 w 201880"/>
              <a:gd name="connsiteY11" fmla="*/ 0 h 273132"/>
              <a:gd name="connsiteX12" fmla="*/ 71252 w 201880"/>
              <a:gd name="connsiteY12" fmla="*/ 59376 h 273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1880" h="273132">
                <a:moveTo>
                  <a:pt x="71252" y="59376"/>
                </a:moveTo>
                <a:lnTo>
                  <a:pt x="71252" y="59376"/>
                </a:lnTo>
                <a:cubicBezTo>
                  <a:pt x="98961" y="79168"/>
                  <a:pt x="130301" y="94675"/>
                  <a:pt x="154379" y="118753"/>
                </a:cubicBezTo>
                <a:cubicBezTo>
                  <a:pt x="174563" y="138937"/>
                  <a:pt x="201880" y="190005"/>
                  <a:pt x="201880" y="190005"/>
                </a:cubicBezTo>
                <a:cubicBezTo>
                  <a:pt x="197922" y="213756"/>
                  <a:pt x="201951" y="240351"/>
                  <a:pt x="190005" y="261257"/>
                </a:cubicBezTo>
                <a:cubicBezTo>
                  <a:pt x="183795" y="272125"/>
                  <a:pt x="166897" y="273132"/>
                  <a:pt x="154379" y="273132"/>
                </a:cubicBezTo>
                <a:cubicBezTo>
                  <a:pt x="126389" y="273132"/>
                  <a:pt x="98961" y="265215"/>
                  <a:pt x="71252" y="261257"/>
                </a:cubicBezTo>
                <a:cubicBezTo>
                  <a:pt x="67293" y="249382"/>
                  <a:pt x="65455" y="236573"/>
                  <a:pt x="59376" y="225631"/>
                </a:cubicBezTo>
                <a:cubicBezTo>
                  <a:pt x="45513" y="200678"/>
                  <a:pt x="11875" y="154379"/>
                  <a:pt x="11875" y="154379"/>
                </a:cubicBezTo>
                <a:cubicBezTo>
                  <a:pt x="7917" y="130628"/>
                  <a:pt x="0" y="107205"/>
                  <a:pt x="0" y="83127"/>
                </a:cubicBezTo>
                <a:cubicBezTo>
                  <a:pt x="0" y="36889"/>
                  <a:pt x="20145" y="51106"/>
                  <a:pt x="47501" y="23750"/>
                </a:cubicBezTo>
                <a:cubicBezTo>
                  <a:pt x="53760" y="17491"/>
                  <a:pt x="55418" y="7917"/>
                  <a:pt x="59376" y="0"/>
                </a:cubicBezTo>
                <a:lnTo>
                  <a:pt x="71252" y="593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Капля 4"/>
          <p:cNvSpPr/>
          <p:nvPr/>
        </p:nvSpPr>
        <p:spPr>
          <a:xfrm>
            <a:off x="5844898" y="4142150"/>
            <a:ext cx="146034" cy="166664"/>
          </a:xfrm>
          <a:prstGeom prst="teardrop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844898" y="4316301"/>
            <a:ext cx="75245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err="1" smtClean="0">
                <a:solidFill>
                  <a:prstClr val="black"/>
                </a:solidFill>
                <a:latin typeface="Calibri"/>
              </a:rPr>
              <a:t>Мирнинское</a:t>
            </a:r>
            <a:r>
              <a:rPr lang="ru-RU" sz="800" dirty="0" smtClean="0">
                <a:solidFill>
                  <a:prstClr val="black"/>
                </a:solidFill>
                <a:latin typeface="Calibri"/>
              </a:rPr>
              <a:t> МО</a:t>
            </a:r>
            <a:endParaRPr lang="ru-RU" sz="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Восьмиугольник 14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42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206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Rot="1" noChangeArrowheads="1"/>
          </p:cNvSpPr>
          <p:nvPr/>
        </p:nvSpPr>
        <p:spPr bwMode="auto">
          <a:xfrm>
            <a:off x="-43274" y="1129904"/>
            <a:ext cx="6858000" cy="851296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</a:t>
            </a:r>
            <a:r>
              <a:rPr lang="ru-RU" sz="12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Черчетское</a:t>
            </a: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сельское поселение (территория  пилорамы)</a:t>
            </a:r>
            <a:endParaRPr lang="ru-RU" sz="1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</a:t>
            </a:r>
          </a:p>
        </p:txBody>
      </p:sp>
      <p:graphicFrame>
        <p:nvGraphicFramePr>
          <p:cNvPr id="3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8015470"/>
              </p:ext>
            </p:extLst>
          </p:nvPr>
        </p:nvGraphicFramePr>
        <p:xfrm>
          <a:off x="0" y="1523736"/>
          <a:ext cx="6858000" cy="7364792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84175"/>
                <a:gridCol w="4869161"/>
              </a:tblGrid>
              <a:tr h="71069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</a:tr>
              <a:tr h="5157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ркутская обл.,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йшетский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йон, с.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ерчет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5471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От областного центра 860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От центра муниципального образования – 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От ближайших производственных объектов- 0,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От ближайших жилых домов – 0,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От автодорог федерального назначения – 14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 От ж/д станции – 150 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6553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Ж/д (имеетс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3257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ощадки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Площадь – 2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Строение -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Возможность расширения – е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28925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д собственности – нет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емен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Категория земель – земли населенных пунк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3208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Электроснабжение – д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Связь –  сотов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sp>
        <p:nvSpPr>
          <p:cNvPr id="4" name="Rectangle 2"/>
          <p:cNvSpPr>
            <a:spLocks noRot="1" noChangeArrowheads="1"/>
          </p:cNvSpPr>
          <p:nvPr/>
        </p:nvSpPr>
        <p:spPr bwMode="auto">
          <a:xfrm>
            <a:off x="0" y="565812"/>
            <a:ext cx="6858000" cy="56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</a:t>
            </a:r>
            <a:r>
              <a:rPr lang="ru-RU" sz="2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12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30163" y="8888528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Новобирюсин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образование, тел.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-901-668-57-30,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Тел. 8-924-604-10-55 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Контактное лицо: </a:t>
            </a: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Чичёв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Сергей Николаевич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6" name="Восьмиугольник 5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43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Рисунок 20" descr="карта_ЧМО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65" r="38033"/>
          <a:stretch/>
        </p:blipFill>
        <p:spPr bwMode="auto">
          <a:xfrm>
            <a:off x="4649632" y="1981200"/>
            <a:ext cx="2086708" cy="528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0911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 descr="C:\Users\Тютрина.GFUPOST\Desktop\Площадки\ПЛОЩАДКИ для ИРКУТСКА 2019 год\Фото Черчет\DSCN0857.JPG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63716" y="7281598"/>
            <a:ext cx="3330575" cy="1733550"/>
          </a:xfrm>
          <a:prstGeom prst="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-30163" y="8888528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Новобирюсин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образование, тел.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-901-668-57-30,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Тел. 8-924-604-10-55 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Контактное лицо: </a:t>
            </a: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Чичёв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Сергей Николаевич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38244" name="Rectangle 7"/>
          <p:cNvSpPr>
            <a:spLocks noRot="1" noChangeArrowheads="1"/>
          </p:cNvSpPr>
          <p:nvPr/>
        </p:nvSpPr>
        <p:spPr bwMode="auto">
          <a:xfrm>
            <a:off x="0" y="1129905"/>
            <a:ext cx="6858000" cy="624741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Черчет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сельское поселе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</a:t>
            </a:r>
          </a:p>
        </p:txBody>
      </p:sp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565812"/>
            <a:ext cx="6858000" cy="56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</a:t>
            </a:r>
            <a:r>
              <a:rPr lang="ru-RU" sz="2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13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pic>
        <p:nvPicPr>
          <p:cNvPr id="10" name="Рисунок 20" descr="карта_ЧМО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65" r="38033"/>
          <a:stretch/>
        </p:blipFill>
        <p:spPr bwMode="auto">
          <a:xfrm>
            <a:off x="4649632" y="1981200"/>
            <a:ext cx="2086708" cy="528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2728782"/>
              </p:ext>
            </p:extLst>
          </p:nvPr>
        </p:nvGraphicFramePr>
        <p:xfrm>
          <a:off x="-18759" y="1754644"/>
          <a:ext cx="6858000" cy="5655937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84175"/>
                <a:gridCol w="4869161"/>
              </a:tblGrid>
              <a:tr h="5457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</a:tr>
              <a:tr h="3960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ркутская обл.,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айшетский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район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. 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Черчет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ул.Новая, 20</a:t>
                      </a:r>
                    </a:p>
                  </a:txBody>
                  <a:tcPr marL="24191" marR="24191" marT="0" marB="0" horzOverflow="overflow"/>
                </a:tc>
              </a:tr>
              <a:tr h="11881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От областного центра 860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т центра муниципального образования – 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От ближайших производственных объектов- 0,1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От ближайших жилых домов – 0,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. От автодорог федерального назначения – 14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. От ж/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станции – 150 км</a:t>
                      </a:r>
                    </a:p>
                  </a:txBody>
                  <a:tcPr marL="24191" marR="24191" marT="0" marB="0" horzOverflow="overflow"/>
                </a:tc>
              </a:tr>
              <a:tr h="5033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Ж/</a:t>
                      </a:r>
                      <a:r>
                        <a:rPr kumimoji="0" 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имеются)</a:t>
                      </a:r>
                    </a:p>
                  </a:txBody>
                  <a:tcPr marL="24191" marR="24191" marT="0" marB="0" horzOverflow="overflow"/>
                </a:tc>
              </a:tr>
              <a:tr h="10181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Площадь – 0,5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Строение -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Возможность расширения – есть</a:t>
                      </a:r>
                    </a:p>
                  </a:txBody>
                  <a:tcPr marL="24191" marR="24191" marT="0" marB="0" horzOverflow="overflow"/>
                </a:tc>
              </a:tr>
              <a:tr h="9901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ид собственности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Обремен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 Категория земель – земли населенных пунктов</a:t>
                      </a:r>
                    </a:p>
                  </a:txBody>
                  <a:tcPr marL="24191" marR="24191" marT="0" marB="0" horzOverflow="overflow"/>
                </a:tc>
              </a:tr>
              <a:tr h="10143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Электроснабжение – есть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. Связь –  сотовая</a:t>
                      </a: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pic>
        <p:nvPicPr>
          <p:cNvPr id="12" name="Рисунок 20" descr="карта_ЧМО.p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65" r="38033"/>
          <a:stretch/>
        </p:blipFill>
        <p:spPr bwMode="auto">
          <a:xfrm>
            <a:off x="4802032" y="2146300"/>
            <a:ext cx="2086708" cy="5286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Восьмиугольник 14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44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283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Rot="1" noChangeArrowheads="1"/>
          </p:cNvSpPr>
          <p:nvPr/>
        </p:nvSpPr>
        <p:spPr bwMode="auto">
          <a:xfrm>
            <a:off x="-43274" y="1129904"/>
            <a:ext cx="6858000" cy="851296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</a:t>
            </a:r>
            <a:r>
              <a:rPr lang="ru-RU" sz="12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Шелаевское</a:t>
            </a: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сельское поселение  </a:t>
            </a:r>
            <a:endParaRPr lang="ru-RU" sz="1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graphicFrame>
        <p:nvGraphicFramePr>
          <p:cNvPr id="3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3067241"/>
              </p:ext>
            </p:extLst>
          </p:nvPr>
        </p:nvGraphicFramePr>
        <p:xfrm>
          <a:off x="0" y="1523735"/>
          <a:ext cx="6858000" cy="5795060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84175"/>
                <a:gridCol w="4869161"/>
              </a:tblGrid>
              <a:tr h="5952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</a:tr>
              <a:tr h="3613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ркутская обл.,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йшетский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йон, с. Шелаево </a:t>
                      </a:r>
                    </a:p>
                  </a:txBody>
                  <a:tcPr marL="24191" marR="24191" marT="0" marB="0" horzOverflow="overflow"/>
                </a:tc>
              </a:tr>
              <a:tr h="11692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От областного центра 846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От центра муниципального образования – 20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От ближайших жилых домов – 13,7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От автодорог федерального назначения – 100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 От ж/д станции – 10 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5952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Авто (нет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нет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2032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ощадки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Площадь – 166,76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Строение -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Возможность расширения – 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935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д собственности – нет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еменение – использование в с/х целях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Категория земель – земли сельскохозяйственного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азначени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935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Электроснабж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Связь –  сотов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sp>
        <p:nvSpPr>
          <p:cNvPr id="4" name="Rectangle 2"/>
          <p:cNvSpPr>
            <a:spLocks noRot="1" noChangeArrowheads="1"/>
          </p:cNvSpPr>
          <p:nvPr/>
        </p:nvSpPr>
        <p:spPr bwMode="auto">
          <a:xfrm>
            <a:off x="0" y="565812"/>
            <a:ext cx="6858000" cy="56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</a:t>
            </a:r>
            <a:r>
              <a:rPr lang="ru-RU" sz="2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14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1" y="8882687"/>
            <a:ext cx="6896393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wrap="square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Шелаевское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образование, тел.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-991-370-75-57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лицо: </a:t>
            </a: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Чарушников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Дмитрий Александрович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6" name="Восьмиугольник 5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45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0" name="Рисунок 20" descr="карта_ЧМО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65" r="38033"/>
          <a:stretch/>
        </p:blipFill>
        <p:spPr bwMode="auto">
          <a:xfrm>
            <a:off x="4809684" y="2222698"/>
            <a:ext cx="2086708" cy="5078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Блок-схема: сохраненные данные 8"/>
          <p:cNvSpPr/>
          <p:nvPr/>
        </p:nvSpPr>
        <p:spPr>
          <a:xfrm>
            <a:off x="5623067" y="3481517"/>
            <a:ext cx="183650" cy="234026"/>
          </a:xfrm>
          <a:prstGeom prst="flowChartOnline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53595" y="3772537"/>
            <a:ext cx="87467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err="1" smtClean="0">
                <a:solidFill>
                  <a:prstClr val="black"/>
                </a:solidFill>
                <a:latin typeface="Calibri"/>
              </a:rPr>
              <a:t>Шелаевское</a:t>
            </a:r>
            <a:r>
              <a:rPr lang="ru-RU" sz="800" dirty="0" smtClean="0">
                <a:solidFill>
                  <a:prstClr val="black"/>
                </a:solidFill>
                <a:latin typeface="Calibri"/>
              </a:rPr>
              <a:t>  МО</a:t>
            </a:r>
            <a:endParaRPr lang="ru-RU" sz="8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0" y="7318794"/>
            <a:ext cx="6858000" cy="1596316"/>
            <a:chOff x="1304925" y="2738437"/>
            <a:chExt cx="4248150" cy="3667125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4925" y="2738437"/>
              <a:ext cx="4248150" cy="3667125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100000" l="0" r="100000">
                          <a14:foregroundMark x1="25451" y1="39179" x2="25451" y2="3917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73146" y="3820896"/>
              <a:ext cx="2241114" cy="240728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1503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/>
          <p:cNvGrpSpPr/>
          <p:nvPr/>
        </p:nvGrpSpPr>
        <p:grpSpPr>
          <a:xfrm>
            <a:off x="0" y="6990240"/>
            <a:ext cx="6858000" cy="1892447"/>
            <a:chOff x="0" y="2998997"/>
            <a:chExt cx="6858000" cy="3146006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2998997"/>
              <a:ext cx="6858000" cy="3146006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228" y="3360163"/>
              <a:ext cx="2869998" cy="2075933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/>
        </p:nvSpPr>
        <p:spPr>
          <a:xfrm>
            <a:off x="-30163" y="8882687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Шелаевское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образование, тел.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-991-370-75-57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лицо: </a:t>
            </a: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Чарушников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Дмитрий Александрович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2" name="Rectangle 7"/>
          <p:cNvSpPr>
            <a:spLocks noRot="1" noChangeArrowheads="1"/>
          </p:cNvSpPr>
          <p:nvPr/>
        </p:nvSpPr>
        <p:spPr bwMode="auto">
          <a:xfrm>
            <a:off x="-43274" y="1129904"/>
            <a:ext cx="6858000" cy="851296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</a:t>
            </a:r>
            <a:r>
              <a:rPr lang="ru-RU" sz="12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Шелаевкое</a:t>
            </a: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сельское поселение </a:t>
            </a:r>
            <a:endParaRPr lang="ru-RU" sz="1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</a:t>
            </a:r>
          </a:p>
        </p:txBody>
      </p:sp>
      <p:graphicFrame>
        <p:nvGraphicFramePr>
          <p:cNvPr id="3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5227963"/>
              </p:ext>
            </p:extLst>
          </p:nvPr>
        </p:nvGraphicFramePr>
        <p:xfrm>
          <a:off x="0" y="1523735"/>
          <a:ext cx="6858000" cy="5535501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84175"/>
                <a:gridCol w="4869161"/>
              </a:tblGrid>
              <a:tr h="5341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</a:tr>
              <a:tr h="3876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ркутская обл.,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йшетский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йон, с. Шелаево </a:t>
                      </a:r>
                    </a:p>
                  </a:txBody>
                  <a:tcPr marL="24191" marR="24191" marT="0" marB="0" horzOverflow="overflow"/>
                </a:tc>
              </a:tr>
              <a:tr h="11628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От областного центра 846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От центра муниципального образования – 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От ближайших жилых домов – 0,7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От автодорог федерального назначения – 100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 От ж/д станции – 2,7 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4925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Авто (нет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нет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9964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ощадки </a:t>
                      </a: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Площадь – 150 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Строение -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Возможность расширения – 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9690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д собственности – нет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еменение – использование в с/х целях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Категория земель – земли сельскохозяйственного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значения</a:t>
                      </a:r>
                    </a:p>
                  </a:txBody>
                  <a:tcPr marL="24191" marR="24191" marT="0" marB="0" horzOverflow="overflow"/>
                </a:tc>
              </a:tr>
              <a:tr h="9927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marL="87086" marR="87086" marT="49531" marB="49531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Электроснабж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язь –  сотов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sp>
        <p:nvSpPr>
          <p:cNvPr id="4" name="Rectangle 2"/>
          <p:cNvSpPr>
            <a:spLocks noRot="1" noChangeArrowheads="1"/>
          </p:cNvSpPr>
          <p:nvPr/>
        </p:nvSpPr>
        <p:spPr bwMode="auto">
          <a:xfrm>
            <a:off x="0" y="565812"/>
            <a:ext cx="6858000" cy="56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</a:t>
            </a:r>
            <a:r>
              <a:rPr lang="ru-RU" sz="2200" b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№ </a:t>
            </a:r>
            <a:r>
              <a:rPr lang="ru-RU" sz="2200" b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15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6" name="Восьмиугольник 5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46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0" name="Рисунок 20" descr="карта_ЧМО.png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65" r="38033"/>
          <a:stretch/>
        </p:blipFill>
        <p:spPr bwMode="auto">
          <a:xfrm>
            <a:off x="4728018" y="2222697"/>
            <a:ext cx="2086708" cy="5078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553595" y="3772537"/>
            <a:ext cx="87467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dirty="0" err="1" smtClean="0">
                <a:solidFill>
                  <a:prstClr val="black"/>
                </a:solidFill>
                <a:latin typeface="Calibri"/>
              </a:rPr>
              <a:t>Шелаевское</a:t>
            </a:r>
            <a:r>
              <a:rPr lang="ru-RU" sz="800" dirty="0" smtClean="0">
                <a:solidFill>
                  <a:prstClr val="black"/>
                </a:solidFill>
                <a:latin typeface="Calibri"/>
              </a:rPr>
              <a:t>  МО</a:t>
            </a:r>
            <a:endParaRPr lang="ru-RU" sz="8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Блок-схема: сохраненные данные 8"/>
          <p:cNvSpPr/>
          <p:nvPr/>
        </p:nvSpPr>
        <p:spPr>
          <a:xfrm>
            <a:off x="5557853" y="3481517"/>
            <a:ext cx="183650" cy="234026"/>
          </a:xfrm>
          <a:prstGeom prst="flowChartOnlineStorag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918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6353" name="AutoShape 2" descr="http://www.i2n.ru/i/news/evraz_111.jpg"/>
          <p:cNvSpPr>
            <a:spLocks noChangeAspect="1" noChangeArrowheads="1"/>
          </p:cNvSpPr>
          <p:nvPr/>
        </p:nvSpPr>
        <p:spPr bwMode="auto">
          <a:xfrm>
            <a:off x="47625" y="-197203"/>
            <a:ext cx="228600" cy="440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16" name="Пятиугольник 15"/>
          <p:cNvSpPr/>
          <p:nvPr>
            <p:custDataLst>
              <p:tags r:id="rId1"/>
            </p:custDataLst>
          </p:nvPr>
        </p:nvSpPr>
        <p:spPr>
          <a:xfrm>
            <a:off x="3572" y="9739347"/>
            <a:ext cx="6425824" cy="166654"/>
          </a:xfrm>
          <a:prstGeom prst="homePlate">
            <a:avLst/>
          </a:prstGeom>
          <a:solidFill>
            <a:schemeClr val="bg1"/>
          </a:solidFill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Пятиугольник 16"/>
          <p:cNvSpPr/>
          <p:nvPr>
            <p:custDataLst>
              <p:tags r:id="rId2"/>
            </p:custDataLst>
          </p:nvPr>
        </p:nvSpPr>
        <p:spPr>
          <a:xfrm>
            <a:off x="0" y="9525032"/>
            <a:ext cx="5786454" cy="214314"/>
          </a:xfrm>
          <a:prstGeom prst="homePlate">
            <a:avLst/>
          </a:prstGeom>
          <a:solidFill>
            <a:schemeClr val="accent5">
              <a:lumMod val="75000"/>
            </a:schemeClr>
          </a:solidFill>
          <a:ln w="508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0" y="7761312"/>
            <a:ext cx="6858000" cy="1763720"/>
          </a:xfrm>
          <a:prstGeom prst="rect">
            <a:avLst/>
          </a:prstGeom>
          <a:gradFill flip="none" rotWithShape="1">
            <a:gsLst>
              <a:gs pos="0">
                <a:srgbClr val="33CCCC"/>
              </a:gs>
              <a:gs pos="50000">
                <a:srgbClr val="33CCCC"/>
              </a:gs>
              <a:gs pos="100000">
                <a:srgbClr val="99FFCC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i="1" dirty="0" smtClean="0">
                <a:solidFill>
                  <a:schemeClr val="tx2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>Приглашаем к сотрудничеству</a:t>
            </a:r>
            <a:endParaRPr lang="ru-RU" sz="2800" b="1" i="1" dirty="0">
              <a:solidFill>
                <a:schemeClr val="tx2">
                  <a:lumMod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0" y="2809860"/>
            <a:ext cx="6858000" cy="480131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665010, Иркутская область, </a:t>
            </a:r>
            <a:r>
              <a:rPr lang="ru-RU" b="1" dirty="0" err="1" smtClean="0">
                <a:solidFill>
                  <a:schemeClr val="tx2">
                    <a:lumMod val="25000"/>
                  </a:schemeClr>
                </a:solidFill>
              </a:rPr>
              <a:t>Тайшетский</a:t>
            </a:r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 район,</a:t>
            </a: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г. Тайшет, ул. Октябрьская, 86/1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,</a:t>
            </a:r>
          </a:p>
          <a:p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E-mail</a:t>
            </a:r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: 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</a:rPr>
              <a:t>admin@taishetrn.ru</a:t>
            </a:r>
            <a:endParaRPr lang="ru-RU" b="1" dirty="0" smtClean="0">
              <a:solidFill>
                <a:schemeClr val="tx2">
                  <a:lumMod val="25000"/>
                </a:schemeClr>
              </a:solidFill>
            </a:endParaRP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Сайт: 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  <a:hlinkClick r:id="rId5"/>
              </a:rPr>
              <a:t>WWW.TAISHET</a:t>
            </a:r>
            <a:r>
              <a:rPr lang="ru-RU" b="1" dirty="0" smtClean="0">
                <a:solidFill>
                  <a:schemeClr val="tx2">
                    <a:lumMod val="25000"/>
                  </a:schemeClr>
                </a:solidFill>
                <a:hlinkClick r:id="rId5"/>
              </a:rPr>
              <a:t>.</a:t>
            </a:r>
            <a:r>
              <a:rPr lang="en-US" b="1" dirty="0" smtClean="0">
                <a:solidFill>
                  <a:schemeClr val="tx2">
                    <a:lumMod val="25000"/>
                  </a:schemeClr>
                </a:solidFill>
                <a:hlinkClick r:id="rId5"/>
              </a:rPr>
              <a:t>IRKMO.RU</a:t>
            </a:r>
            <a:endParaRPr lang="ru-RU" b="1" dirty="0" smtClean="0">
              <a:solidFill>
                <a:schemeClr val="tx2">
                  <a:lumMod val="25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Мэр МО «</a:t>
            </a:r>
            <a:r>
              <a:rPr lang="ru-RU" b="1" dirty="0" err="1" smtClean="0">
                <a:solidFill>
                  <a:schemeClr val="tx2">
                    <a:lumMod val="25000"/>
                  </a:schemeClr>
                </a:solidFill>
              </a:rPr>
              <a:t>Тайшетский</a:t>
            </a:r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 район»:</a:t>
            </a: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Величко Александр Владимирович</a:t>
            </a: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Тел. 8(39563) 3-99-77</a:t>
            </a: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 </a:t>
            </a: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Первый заместитель мэра </a:t>
            </a:r>
            <a:r>
              <a:rPr lang="ru-RU" b="1" dirty="0" err="1" smtClean="0">
                <a:solidFill>
                  <a:schemeClr val="tx2">
                    <a:lumMod val="25000"/>
                  </a:schemeClr>
                </a:solidFill>
              </a:rPr>
              <a:t>Тайшетского</a:t>
            </a:r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 района, </a:t>
            </a: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Инвестиционный уполномоченный</a:t>
            </a: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Малиновский Михаил Васильевич</a:t>
            </a:r>
          </a:p>
          <a:p>
            <a:r>
              <a:rPr lang="ru-RU" b="1" dirty="0" smtClean="0">
                <a:solidFill>
                  <a:schemeClr val="tx2">
                    <a:lumMod val="25000"/>
                  </a:schemeClr>
                </a:solidFill>
              </a:rPr>
              <a:t>Тел. (839563) 3-99-75</a:t>
            </a:r>
          </a:p>
          <a:p>
            <a:endParaRPr lang="ru-RU" b="1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en-US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50000"/>
                </a:schemeClr>
              </a:solidFill>
            </a:endParaRPr>
          </a:p>
          <a:p>
            <a:endParaRPr lang="ru-RU" dirty="0"/>
          </a:p>
        </p:txBody>
      </p:sp>
      <p:sp>
        <p:nvSpPr>
          <p:cNvPr id="519169" name="Rectangle 1"/>
          <p:cNvSpPr>
            <a:spLocks noChangeArrowheads="1"/>
          </p:cNvSpPr>
          <p:nvPr/>
        </p:nvSpPr>
        <p:spPr bwMode="auto">
          <a:xfrm>
            <a:off x="0" y="4619027"/>
            <a:ext cx="68580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9" name="Рисунок 8" descr="E:\taishet2000s_rayon_coa_n12011.gif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2071678" cy="2768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Рисунок 9" descr="Похожее изображение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71678" y="3"/>
            <a:ext cx="4786322" cy="2534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6429396" y="9525033"/>
            <a:ext cx="4286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2">
                    <a:lumMod val="25000"/>
                  </a:schemeClr>
                </a:solidFill>
              </a:rPr>
              <a:t>17</a:t>
            </a:r>
            <a:endParaRPr lang="ru-RU" sz="1400" dirty="0">
              <a:solidFill>
                <a:schemeClr val="tx2">
                  <a:lumMod val="25000"/>
                </a:scheme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>
                        <a14:foregroundMark x1="3550" y1="34651" x2="3550" y2="34651"/>
                        <a14:foregroundMark x1="97750" y1="82148" x2="97750" y2="82148"/>
                        <a14:backgroundMark x1="29450" y1="22859" x2="76950" y2="3801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4904" y="5279947"/>
            <a:ext cx="4293096" cy="32584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277485"/>
            <a:ext cx="6858000" cy="1851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3907" name="Rectangle 2"/>
          <p:cNvSpPr>
            <a:spLocks noRot="1" noChangeArrowheads="1"/>
          </p:cNvSpPr>
          <p:nvPr/>
        </p:nvSpPr>
        <p:spPr bwMode="auto">
          <a:xfrm>
            <a:off x="0" y="742950"/>
            <a:ext cx="6858000" cy="57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1</a:t>
            </a:r>
          </a:p>
        </p:txBody>
      </p:sp>
      <p:sp>
        <p:nvSpPr>
          <p:cNvPr id="123908" name="Rectangle 7"/>
          <p:cNvSpPr>
            <a:spLocks noRot="1" noChangeArrowheads="1"/>
          </p:cNvSpPr>
          <p:nvPr/>
        </p:nvSpPr>
        <p:spPr bwMode="auto">
          <a:xfrm>
            <a:off x="-116632" y="1320800"/>
            <a:ext cx="6858000" cy="660400"/>
          </a:xfrm>
          <a:prstGeom prst="rect">
            <a:avLst/>
          </a:prstGeom>
          <a:solidFill>
            <a:schemeClr val="accent1">
              <a:lumMod val="60000"/>
              <a:lumOff val="4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85725"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EB8803"/>
              </a:buClr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Бирюсин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городское   </a:t>
            </a: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поселение</a:t>
            </a:r>
            <a:endParaRPr lang="ru-RU" sz="1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-28823" y="8951893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Бирюсин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городское поселение, тел. 8 (39563) 7-12-50, 8-964-215-49-43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лицо: </a:t>
            </a: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впинец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Андрей Васильевич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0" name="Восьмиугольник 9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32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73221" y="4769805"/>
            <a:ext cx="111612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b="1" dirty="0" err="1" smtClean="0">
                <a:solidFill>
                  <a:prstClr val="black"/>
                </a:solidFill>
                <a:latin typeface="Calibri"/>
              </a:rPr>
              <a:t>Бирюсинское</a:t>
            </a:r>
            <a:r>
              <a:rPr lang="ru-RU" sz="800" b="1" dirty="0" smtClean="0">
                <a:solidFill>
                  <a:prstClr val="black"/>
                </a:solidFill>
                <a:latin typeface="Calibri"/>
              </a:rPr>
              <a:t> МО</a:t>
            </a:r>
            <a:endParaRPr lang="ru-RU" sz="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5679286" y="4640969"/>
            <a:ext cx="98995" cy="12884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329674"/>
              </p:ext>
            </p:extLst>
          </p:nvPr>
        </p:nvGraphicFramePr>
        <p:xfrm>
          <a:off x="0" y="1262842"/>
          <a:ext cx="6858000" cy="6222757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62354"/>
                <a:gridCol w="1806067"/>
                <a:gridCol w="4589579"/>
              </a:tblGrid>
              <a:tr h="650255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№ п/п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Характеристика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Свободная площадка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</a:tr>
              <a:tr h="641255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1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Расположение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Иркутская обл., </a:t>
                      </a:r>
                      <a:r>
                        <a:rPr lang="ru-RU" sz="1200" kern="1200" dirty="0" err="1">
                          <a:effectLst/>
                        </a:rPr>
                        <a:t>Тайшетский</a:t>
                      </a:r>
                      <a:r>
                        <a:rPr lang="ru-RU" sz="1200" kern="1200" dirty="0">
                          <a:effectLst/>
                        </a:rPr>
                        <a:t> </a:t>
                      </a:r>
                      <a:r>
                        <a:rPr lang="ru-RU" sz="1200" kern="1200" dirty="0" smtClean="0">
                          <a:effectLst/>
                        </a:rPr>
                        <a:t>район</a:t>
                      </a:r>
                      <a:r>
                        <a:rPr lang="ru-RU" sz="1200" kern="1200" dirty="0">
                          <a:effectLst/>
                        </a:rPr>
                        <a:t>, </a:t>
                      </a:r>
                      <a:endParaRPr lang="ru-RU" sz="1200" kern="1200" dirty="0" smtClean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err="1" smtClean="0">
                          <a:effectLst/>
                        </a:rPr>
                        <a:t>Бирюсинское</a:t>
                      </a:r>
                      <a:r>
                        <a:rPr lang="ru-RU" sz="1200" kern="1200" dirty="0" smtClean="0">
                          <a:effectLst/>
                        </a:rPr>
                        <a:t> </a:t>
                      </a:r>
                      <a:r>
                        <a:rPr lang="ru-RU" sz="1200" kern="1200" dirty="0">
                          <a:effectLst/>
                        </a:rPr>
                        <a:t>городское </a:t>
                      </a:r>
                      <a:r>
                        <a:rPr lang="ru-RU" sz="1200" kern="1200" dirty="0" smtClean="0">
                          <a:effectLst/>
                        </a:rPr>
                        <a:t>поселение, земельный участок </a:t>
                      </a: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</a:rPr>
                        <a:t>РЗ </a:t>
                      </a:r>
                      <a:r>
                        <a:rPr lang="ru-RU" sz="1200" kern="1200" dirty="0">
                          <a:effectLst/>
                        </a:rPr>
                        <a:t>зона, 9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1336720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2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Удаленность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1. От областного центра 680 км 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2. От центра муниципального образования – 2 км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3. </a:t>
                      </a:r>
                      <a:r>
                        <a:rPr lang="ru-RU" sz="1200" kern="1200" dirty="0" smtClean="0">
                          <a:effectLst/>
                        </a:rPr>
                        <a:t>От </a:t>
                      </a:r>
                      <a:r>
                        <a:rPr lang="ru-RU" sz="1200" kern="1200" dirty="0">
                          <a:effectLst/>
                        </a:rPr>
                        <a:t>ближайших жилых домов – 3 км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4</a:t>
                      </a:r>
                      <a:r>
                        <a:rPr lang="ru-RU" sz="1200" kern="1200" dirty="0" smtClean="0">
                          <a:effectLst/>
                        </a:rPr>
                        <a:t>. </a:t>
                      </a:r>
                      <a:r>
                        <a:rPr lang="ru-RU" sz="1200" kern="1200" dirty="0">
                          <a:effectLst/>
                        </a:rPr>
                        <a:t>От автодорог федерального назначения – 10 км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5</a:t>
                      </a:r>
                      <a:r>
                        <a:rPr lang="ru-RU" sz="1200" kern="1200" dirty="0" smtClean="0">
                          <a:effectLst/>
                        </a:rPr>
                        <a:t>. </a:t>
                      </a:r>
                      <a:r>
                        <a:rPr lang="ru-RU" sz="1200" kern="1200" dirty="0">
                          <a:effectLst/>
                        </a:rPr>
                        <a:t>От ж/д станции – 0,7 км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546740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3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Наличие подъездных путей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1. Авто имеется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2. Ж/д имеются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894785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eaLnBrk="0" fontAlgn="base" hangingPunct="0">
                        <a:lnSpc>
                          <a:spcPct val="115000"/>
                        </a:lnSpc>
                        <a:spcBef>
                          <a:spcPts val="265"/>
                        </a:spcBef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Характеристика</a:t>
                      </a:r>
                      <a:endParaRPr lang="ru-RU" sz="1200">
                        <a:effectLst/>
                      </a:endParaRPr>
                    </a:p>
                    <a:p>
                      <a:pPr eaLnBrk="0" fontAlgn="base" hangingPunct="0">
                        <a:lnSpc>
                          <a:spcPct val="115000"/>
                        </a:lnSpc>
                        <a:spcBef>
                          <a:spcPts val="265"/>
                        </a:spcBef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территории</a:t>
                      </a:r>
                      <a:endParaRPr lang="ru-RU" sz="1200">
                        <a:effectLst/>
                      </a:endParaRPr>
                    </a:p>
                    <a:p>
                      <a:pPr eaLnBrk="0" fontAlgn="base" hangingPunct="0">
                        <a:lnSpc>
                          <a:spcPct val="115000"/>
                        </a:lnSpc>
                        <a:spcBef>
                          <a:spcPts val="265"/>
                        </a:spcBef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площадки 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1. Площадь –  130 га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2. Ограждение – нет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3. Строение - нет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4. Возможность расширения – нет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880811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5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eaLnBrk="0" fontAlgn="base" hangingPunct="0">
                        <a:lnSpc>
                          <a:spcPct val="115000"/>
                        </a:lnSpc>
                        <a:spcBef>
                          <a:spcPts val="265"/>
                        </a:spcBef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Правовой статус</a:t>
                      </a:r>
                      <a:endParaRPr lang="ru-RU" sz="1200">
                        <a:effectLst/>
                      </a:endParaRPr>
                    </a:p>
                    <a:p>
                      <a:pPr eaLnBrk="0" fontAlgn="base" hangingPunct="0">
                        <a:lnSpc>
                          <a:spcPct val="115000"/>
                        </a:lnSpc>
                        <a:spcBef>
                          <a:spcPts val="265"/>
                        </a:spcBef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площадки 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1.Вид собственности – муниципальная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2. Обременение – нет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3. Категория земель – земли </a:t>
                      </a:r>
                      <a:r>
                        <a:rPr lang="ru-RU" sz="1200" kern="1200" dirty="0" smtClean="0">
                          <a:effectLst/>
                        </a:rPr>
                        <a:t>населенных</a:t>
                      </a: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</a:rPr>
                        <a:t> </a:t>
                      </a:r>
                      <a:r>
                        <a:rPr lang="ru-RU" sz="1200" kern="1200" dirty="0">
                          <a:effectLst/>
                        </a:rPr>
                        <a:t>пунктов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143999">
                <a:tc>
                  <a:txBody>
                    <a:bodyPr/>
                    <a:lstStyle/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>
                          <a:effectLst/>
                        </a:rPr>
                        <a:t>6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eaLnBrk="0" fontAlgn="base" hangingPunct="0">
                        <a:lnSpc>
                          <a:spcPct val="115000"/>
                        </a:lnSpc>
                        <a:spcBef>
                          <a:spcPts val="265"/>
                        </a:spcBef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Характеристика</a:t>
                      </a:r>
                      <a:endParaRPr lang="ru-RU" sz="1200" dirty="0">
                        <a:effectLst/>
                      </a:endParaRPr>
                    </a:p>
                    <a:p>
                      <a:pPr eaLnBrk="0" fontAlgn="base" hangingPunct="0">
                        <a:lnSpc>
                          <a:spcPct val="115000"/>
                        </a:lnSpc>
                        <a:spcBef>
                          <a:spcPts val="265"/>
                        </a:spcBef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инфраструктуры 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 marL="228600" indent="-228600"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r>
                        <a:rPr lang="ru-RU" sz="1200" kern="1200" dirty="0" smtClean="0">
                          <a:effectLst/>
                        </a:rPr>
                        <a:t>Теплоснабжение </a:t>
                      </a:r>
                      <a:r>
                        <a:rPr lang="ru-RU" sz="1200" kern="1200" dirty="0">
                          <a:effectLst/>
                        </a:rPr>
                        <a:t>– нет, </a:t>
                      </a:r>
                      <a:r>
                        <a:rPr lang="ru-RU" sz="1200" kern="1200" dirty="0" smtClean="0">
                          <a:effectLst/>
                        </a:rPr>
                        <a:t>есть</a:t>
                      </a:r>
                    </a:p>
                    <a:p>
                      <a:pPr marL="0" indent="0"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ru-RU" sz="1200" kern="1200" dirty="0" smtClean="0">
                          <a:effectLst/>
                        </a:rPr>
                        <a:t> </a:t>
                      </a:r>
                      <a:r>
                        <a:rPr lang="ru-RU" sz="1200" kern="1200" dirty="0">
                          <a:effectLst/>
                        </a:rPr>
                        <a:t>возможность подключения</a:t>
                      </a:r>
                      <a:endParaRPr lang="ru-RU" sz="1200" dirty="0">
                        <a:effectLst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2. Водоснабжение – нет, есть возможность </a:t>
                      </a:r>
                      <a:endParaRPr lang="ru-RU" sz="1200" kern="1200" dirty="0" smtClean="0">
                        <a:effectLst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effectLst/>
                        </a:rPr>
                        <a:t>подключения</a:t>
                      </a:r>
                      <a:endParaRPr lang="ru-RU" sz="1200" dirty="0">
                        <a:effectLst/>
                      </a:endParaRPr>
                    </a:p>
                    <a:p>
                      <a:pPr algn="just"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3.Электроснабжение – нет</a:t>
                      </a:r>
                      <a:endParaRPr lang="ru-RU" sz="1200" dirty="0">
                        <a:effectLst/>
                      </a:endParaRPr>
                    </a:p>
                    <a:p>
                      <a:pPr fontAlgn="base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effectLst/>
                        </a:rPr>
                        <a:t>4. Связь –  сотовая имеется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</a:tbl>
          </a:graphicData>
        </a:graphic>
      </p:graphicFrame>
      <p:pic>
        <p:nvPicPr>
          <p:cNvPr id="36905" name="Рисунок 11" descr="бир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988" y="2300707"/>
            <a:ext cx="2357437" cy="575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442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4" name="Rectangle 7"/>
          <p:cNvSpPr>
            <a:spLocks noRot="1" noChangeArrowheads="1"/>
          </p:cNvSpPr>
          <p:nvPr/>
        </p:nvSpPr>
        <p:spPr bwMode="auto">
          <a:xfrm>
            <a:off x="-15875" y="1398444"/>
            <a:ext cx="6858000" cy="962268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85725"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EB8803"/>
              </a:buClr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Бирюсин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городское   </a:t>
            </a: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поселение</a:t>
            </a:r>
            <a:endParaRPr lang="en-US" sz="1200" b="1" dirty="0" smtClean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indent="85725"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EB8803"/>
              </a:buClr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Площадка бывшего  гидролизного завода</a:t>
            </a:r>
            <a:endParaRPr lang="ru-RU" sz="1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-15875" y="0"/>
            <a:ext cx="6858000" cy="1129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2200" b="1" dirty="0" smtClean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</a:t>
            </a: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площадка № 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34809" y="4375667"/>
            <a:ext cx="111612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800" b="1" dirty="0" err="1" smtClean="0">
                <a:solidFill>
                  <a:prstClr val="black"/>
                </a:solidFill>
                <a:latin typeface="Calibri"/>
              </a:rPr>
              <a:t>Бирюсинское</a:t>
            </a:r>
            <a:r>
              <a:rPr lang="ru-RU" sz="800" b="1" dirty="0" smtClean="0">
                <a:solidFill>
                  <a:prstClr val="black"/>
                </a:solidFill>
                <a:latin typeface="Calibri"/>
              </a:rPr>
              <a:t> МО</a:t>
            </a:r>
            <a:endParaRPr lang="ru-RU" sz="8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5803933" y="4250923"/>
            <a:ext cx="88934" cy="124744"/>
          </a:xfrm>
          <a:prstGeom prst="ellipse">
            <a:avLst/>
          </a:prstGeom>
          <a:solidFill>
            <a:srgbClr val="20E42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593351"/>
              </p:ext>
            </p:extLst>
          </p:nvPr>
        </p:nvGraphicFramePr>
        <p:xfrm>
          <a:off x="1" y="2378715"/>
          <a:ext cx="6920860" cy="6162686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796603"/>
                <a:gridCol w="1506470"/>
                <a:gridCol w="4617787"/>
              </a:tblGrid>
              <a:tr h="4097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№ п/п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Характеристика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вободная площадка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</a:tr>
              <a:tr h="7903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асположение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ркутская обл., </a:t>
                      </a:r>
                      <a:r>
                        <a:rPr lang="ru-RU" sz="1200" dirty="0" err="1">
                          <a:effectLst/>
                        </a:rPr>
                        <a:t>Тайшетский</a:t>
                      </a:r>
                      <a:r>
                        <a:rPr lang="ru-RU" sz="1200" dirty="0">
                          <a:effectLst/>
                        </a:rPr>
                        <a:t> </a:t>
                      </a:r>
                      <a:r>
                        <a:rPr lang="ru-RU" sz="1200" dirty="0" smtClean="0">
                          <a:effectLst/>
                        </a:rPr>
                        <a:t>район</a:t>
                      </a:r>
                      <a:r>
                        <a:rPr lang="ru-RU" sz="1200" dirty="0">
                          <a:effectLst/>
                        </a:rPr>
                        <a:t>, </a:t>
                      </a:r>
                      <a:r>
                        <a:rPr lang="ru-RU" sz="1200" dirty="0" err="1" smtClean="0">
                          <a:effectLst/>
                        </a:rPr>
                        <a:t>Бирюсинское</a:t>
                      </a:r>
                      <a:r>
                        <a:rPr lang="ru-RU" sz="1200" dirty="0" smtClean="0">
                          <a:effectLst/>
                        </a:rPr>
                        <a:t> городское поселение,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ул</a:t>
                      </a:r>
                      <a:r>
                        <a:rPr lang="ru-RU" sz="1200" dirty="0">
                          <a:effectLst/>
                        </a:rPr>
                        <a:t>. Горького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11720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Удаленность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 От областного центра 670 км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. От центра муниципального образования –  1 </a:t>
                      </a:r>
                      <a:r>
                        <a:rPr lang="ru-RU" sz="1200" dirty="0" smtClean="0">
                          <a:effectLst/>
                        </a:rPr>
                        <a:t>км</a:t>
                      </a:r>
                      <a:endParaRPr lang="ru-RU" sz="12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</a:t>
                      </a:r>
                      <a:r>
                        <a:rPr lang="ru-RU" sz="1200" dirty="0" smtClean="0">
                          <a:effectLst/>
                        </a:rPr>
                        <a:t>. </a:t>
                      </a:r>
                      <a:r>
                        <a:rPr lang="ru-RU" sz="1200" dirty="0">
                          <a:effectLst/>
                        </a:rPr>
                        <a:t>От ближайших жилых домов –  1 км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</a:t>
                      </a:r>
                      <a:r>
                        <a:rPr lang="ru-RU" sz="1200" dirty="0" smtClean="0">
                          <a:effectLst/>
                        </a:rPr>
                        <a:t>. </a:t>
                      </a:r>
                      <a:r>
                        <a:rPr lang="ru-RU" sz="1200" dirty="0">
                          <a:effectLst/>
                        </a:rPr>
                        <a:t>От автодорог федерального назначения –  10 км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5</a:t>
                      </a:r>
                      <a:r>
                        <a:rPr lang="ru-RU" sz="1200" dirty="0" smtClean="0">
                          <a:effectLst/>
                        </a:rPr>
                        <a:t>. </a:t>
                      </a:r>
                      <a:r>
                        <a:rPr lang="ru-RU" sz="1200" dirty="0">
                          <a:effectLst/>
                        </a:rPr>
                        <a:t>От ж/д станции –  0,7  км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64125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Наличие подъездных путей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 Авто имеетс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. Ж/д имеются тупики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104946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Характеристик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территори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лощадки 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 Площадь – 5 г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. Ограждение – д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. Строение - д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. Возможность расширения – нет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8867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авовой статус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лощадки 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Вид собственности – муниципальна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. Обременение – нет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. Категория земель – земли </a:t>
                      </a:r>
                      <a:r>
                        <a:rPr lang="ru-RU" sz="1200" dirty="0" smtClean="0">
                          <a:effectLst/>
                        </a:rPr>
                        <a:t>населенных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>
                          <a:effectLst/>
                        </a:rPr>
                        <a:t>пунктов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12130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Характеристик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инфраструктуры 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 Теплоснабжение – д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. Водоснабжение – д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.Электроснабжение – имеетс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. Связь –  сотовая имеется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</a:tbl>
          </a:graphicData>
        </a:graphic>
      </p:graphicFrame>
      <p:pic>
        <p:nvPicPr>
          <p:cNvPr id="37929" name="Рисунок 15" descr="бир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9123" y="2924775"/>
            <a:ext cx="2437813" cy="5790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-30163" y="8934807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Бирюсин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городское поселение, тел. 8 (39563) 7-12-50, 8-964-215-49-43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лицо: </a:t>
            </a: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впинец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Андрей Васильевич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5" name="Восьмиугольник 14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33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651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4" name="Rectangle 7"/>
          <p:cNvSpPr>
            <a:spLocks noRot="1" noChangeArrowheads="1"/>
          </p:cNvSpPr>
          <p:nvPr/>
        </p:nvSpPr>
        <p:spPr bwMode="auto">
          <a:xfrm>
            <a:off x="0" y="1129904"/>
            <a:ext cx="6858000" cy="858768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85725"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EB8803"/>
              </a:buClr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Бирюсин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городское   </a:t>
            </a: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поселение</a:t>
            </a:r>
          </a:p>
          <a:p>
            <a:pPr indent="85725"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EB8803"/>
              </a:buClr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Площадка «Прирельсовый участок»</a:t>
            </a:r>
            <a:endParaRPr lang="ru-RU" sz="1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660400"/>
            <a:ext cx="6858000" cy="46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3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381401"/>
              </p:ext>
            </p:extLst>
          </p:nvPr>
        </p:nvGraphicFramePr>
        <p:xfrm>
          <a:off x="-8255" y="1988672"/>
          <a:ext cx="6821631" cy="6938045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698756"/>
                <a:gridCol w="1804176"/>
                <a:gridCol w="4318699"/>
              </a:tblGrid>
              <a:tr h="44351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№ п/п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Характеристика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вободная площадка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</a:tr>
              <a:tr h="67945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асположение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ркутская обл., </a:t>
                      </a:r>
                      <a:r>
                        <a:rPr lang="ru-RU" sz="1200" dirty="0" err="1">
                          <a:effectLst/>
                        </a:rPr>
                        <a:t>Тайшетский</a:t>
                      </a:r>
                      <a:r>
                        <a:rPr lang="ru-RU" sz="1200" dirty="0">
                          <a:effectLst/>
                        </a:rPr>
                        <a:t> район, </a:t>
                      </a:r>
                      <a:endParaRPr lang="ru-RU" sz="1200" dirty="0" smtClean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 smtClean="0">
                          <a:effectLst/>
                        </a:rPr>
                        <a:t>Бирюсинское</a:t>
                      </a:r>
                      <a:r>
                        <a:rPr lang="ru-RU" sz="1200" baseline="0" dirty="0" smtClean="0">
                          <a:effectLst/>
                        </a:rPr>
                        <a:t> городское поселение</a:t>
                      </a:r>
                      <a:r>
                        <a:rPr lang="ru-RU" sz="1200" dirty="0" smtClean="0">
                          <a:effectLst/>
                        </a:rPr>
                        <a:t>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>
                          <a:effectLst/>
                        </a:rPr>
                        <a:t>ул. Лермонтова, 14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16864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Удаленность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 От областного центра 670 км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. От центра муниципального образования –  5 км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. </a:t>
                      </a: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>
                          <a:effectLst/>
                        </a:rPr>
                        <a:t>От ближайших жилых домов – 0,5 км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</a:t>
                      </a:r>
                      <a:r>
                        <a:rPr lang="ru-RU" sz="1200" dirty="0" smtClean="0">
                          <a:effectLst/>
                        </a:rPr>
                        <a:t>. </a:t>
                      </a:r>
                      <a:r>
                        <a:rPr lang="ru-RU" sz="1200" dirty="0">
                          <a:effectLst/>
                        </a:rPr>
                        <a:t>От автодорог федерального назначения – 8  км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5</a:t>
                      </a:r>
                      <a:r>
                        <a:rPr lang="ru-RU" sz="1200" dirty="0" smtClean="0">
                          <a:effectLst/>
                        </a:rPr>
                        <a:t>. </a:t>
                      </a:r>
                      <a:r>
                        <a:rPr lang="ru-RU" sz="1200" dirty="0">
                          <a:effectLst/>
                        </a:rPr>
                        <a:t>От ж/д станции –  1,4 км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6897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Наличие подъездных путей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. Авто грунтовая имеетс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. Ж/д имеется тупик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11288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Характеристик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территори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лощадки 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 Площадь – 12 г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. Ограждение – нет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. Строение - нет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. Возможность расширения – нет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90229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равовой статус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площадки 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Вид собственности – муниципальна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. Обременение – нет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. Категория земель – земли </a:t>
                      </a:r>
                      <a:r>
                        <a:rPr lang="ru-RU" sz="1200" dirty="0" smtClean="0">
                          <a:effectLst/>
                        </a:rPr>
                        <a:t>населенных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 </a:t>
                      </a:r>
                      <a:r>
                        <a:rPr lang="ru-RU" sz="1200" dirty="0">
                          <a:effectLst/>
                        </a:rPr>
                        <a:t>пунктов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  <a:tr h="14076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Характеристик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нфраструктуры 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86995" marR="86995" marT="49530" marB="4953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. Теплоснабжение – нет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. Водоснабжение – нет, имеется возможность подключен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3.Электроснабжение – нет, имеется возможность подключен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4. Связь –  сотовая имеется</a:t>
                      </a: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130" marR="24130" marT="10319" marB="0"/>
                </a:tc>
              </a:tr>
            </a:tbl>
          </a:graphicData>
        </a:graphic>
      </p:graphicFrame>
      <p:pic>
        <p:nvPicPr>
          <p:cNvPr id="38951" name="Рисунок 15" descr="бир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3139" y="1988672"/>
            <a:ext cx="2286569" cy="5928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-30163" y="8951893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Бирюсин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городское поселение, тел. 8 (39563) 7-12-50, 8-964-215-49-43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лицо: </a:t>
            </a: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впинец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Андрей Васильевич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9" name="Восьмиугольник 8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34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71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 descr="лигни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6882608"/>
            <a:ext cx="3429000" cy="2356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8004" name="Rectangle 7"/>
          <p:cNvSpPr>
            <a:spLocks noRot="1" noChangeArrowheads="1"/>
          </p:cNvSpPr>
          <p:nvPr/>
        </p:nvSpPr>
        <p:spPr bwMode="auto">
          <a:xfrm>
            <a:off x="0" y="1110474"/>
            <a:ext cx="6858000" cy="608806"/>
          </a:xfrm>
          <a:prstGeom prst="rect">
            <a:avLst/>
          </a:prstGeom>
          <a:solidFill>
            <a:schemeClr val="accent1">
              <a:lumMod val="40000"/>
              <a:lumOff val="6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85725"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EB8803"/>
              </a:buClr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Зареченское муниципальное образование</a:t>
            </a:r>
          </a:p>
          <a:p>
            <a:pPr indent="85725"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EB8803"/>
              </a:buClr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Свалка лигнина</a:t>
            </a:r>
          </a:p>
        </p:txBody>
      </p:sp>
      <p:graphicFrame>
        <p:nvGraphicFramePr>
          <p:cNvPr id="51242" name="Group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405771"/>
              </p:ext>
            </p:extLst>
          </p:nvPr>
        </p:nvGraphicFramePr>
        <p:xfrm>
          <a:off x="0" y="1676799"/>
          <a:ext cx="6858000" cy="5205806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76672"/>
                <a:gridCol w="1512167"/>
                <a:gridCol w="4869161"/>
              </a:tblGrid>
              <a:tr h="5173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</a:tr>
              <a:tr h="3766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ркутская обл.,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Тайшетский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район,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еверо-восточная часть города  Бирюсинс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3183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180975" marR="0" lvl="0" indent="-18097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От областного центра – 690 км</a:t>
                      </a:r>
                    </a:p>
                    <a:p>
                      <a:pPr marL="180975" marR="0" lvl="0" indent="-18097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т центра муниципального образования – 15 км</a:t>
                      </a:r>
                    </a:p>
                    <a:p>
                      <a:pPr marL="180975" marR="0" lvl="0" indent="-18097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От ближайших производственных</a:t>
                      </a:r>
                    </a:p>
                    <a:p>
                      <a:pPr marL="180975" marR="0" lvl="0" indent="-18097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объектов – 1 км</a:t>
                      </a:r>
                    </a:p>
                    <a:p>
                      <a:pPr marL="180975" marR="0" lvl="0" indent="-18097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От жилой зоны – 0,2 км</a:t>
                      </a:r>
                    </a:p>
                    <a:p>
                      <a:pPr marL="180975" marR="0" lvl="0" indent="-18097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 От федеральной трассы – 5 км</a:t>
                      </a:r>
                    </a:p>
                    <a:p>
                      <a:pPr marL="180975" marR="0" lvl="0" indent="-18097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 От ж/д станции – 0,3 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5173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(имеетс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8316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Площадь – 29,22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Строения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Возможность расширения - 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8129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Вид собственности – государственна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бременение – нет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 startAt="3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атегория земель – земли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омыш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л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8316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Электроснабжение – есть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Связь –  сотов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742950"/>
            <a:ext cx="6858000" cy="386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</a:rPr>
              <a:t>Инвестиционная площадка № 4</a:t>
            </a:r>
          </a:p>
        </p:txBody>
      </p:sp>
      <p:pic>
        <p:nvPicPr>
          <p:cNvPr id="39975" name="Рисунок 12" descr="C:\WINDOWS\Temp\Rar$DI01.187\SAM_7775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882606"/>
            <a:ext cx="3429000" cy="2354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77" name="Рисунок 15" descr="бир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566" y="1166019"/>
            <a:ext cx="2357437" cy="5501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-60326" y="9105781"/>
            <a:ext cx="6918326" cy="738664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Зареченское муниципальное образование, тел. 8-950-113-10-66                      Контактное лицо: Кирпиченко Николай Геннадьевич</a:t>
            </a:r>
          </a:p>
        </p:txBody>
      </p:sp>
      <p:sp>
        <p:nvSpPr>
          <p:cNvPr id="13" name="Восьмиугольник 12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35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125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2" name="Rectangle 7"/>
          <p:cNvSpPr>
            <a:spLocks noRot="1" noChangeArrowheads="1"/>
          </p:cNvSpPr>
          <p:nvPr/>
        </p:nvSpPr>
        <p:spPr bwMode="auto">
          <a:xfrm>
            <a:off x="0" y="1129904"/>
            <a:ext cx="6858000" cy="686196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МО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Разгон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 сельское поселение </a:t>
            </a:r>
          </a:p>
          <a:p>
            <a:pPr algn="ctr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EB8803"/>
              </a:buClr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Бывшая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промбаза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Разгонского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 ЛЗУ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Тайшетского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 филиала ОАО «БЦБК»</a:t>
            </a:r>
          </a:p>
        </p:txBody>
      </p:sp>
      <p:graphicFrame>
        <p:nvGraphicFramePr>
          <p:cNvPr id="52266" name="Group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8538926"/>
              </p:ext>
            </p:extLst>
          </p:nvPr>
        </p:nvGraphicFramePr>
        <p:xfrm>
          <a:off x="0" y="1712913"/>
          <a:ext cx="6858000" cy="5296958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5"/>
                <a:gridCol w="1800200"/>
                <a:gridCol w="4653135"/>
              </a:tblGrid>
              <a:tr h="5041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</a:tr>
              <a:tr h="3657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ркутская обл., Тайшетский район,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с.ж/д. ст.Разгон, ул.Рабочая 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14631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От областного центра – 64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т центра муниципального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разования – 0,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От ближайших производственных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ктов – 0,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От жилой зоны – 0,0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 От федеральной трассы– 1,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 От ж/д станции – 0,1 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4648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(имеетс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7315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Площадь  – 4,7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Строение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Возможность расширения – 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9144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ид собственности – государственная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неразграниченная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бремен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Категория земель- земли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селенных пунк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8529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35" marB="49535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Теплоснабж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Водоснабж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Электроснабжение – есть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Связь –  сотов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</a:tbl>
          </a:graphicData>
        </a:graphic>
      </p:graphicFrame>
      <p:pic>
        <p:nvPicPr>
          <p:cNvPr id="40997" name="Picture 42" descr="E:\схемы площадок\№6.bm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99" t="6580" r="8310" b="25000"/>
          <a:stretch>
            <a:fillRect/>
          </a:stretch>
        </p:blipFill>
        <p:spPr bwMode="auto">
          <a:xfrm>
            <a:off x="3284538" y="6953120"/>
            <a:ext cx="3573462" cy="2127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742950"/>
            <a:ext cx="6858000" cy="386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prstClr val="black"/>
                </a:solidFill>
                <a:latin typeface="Times New Roman" pitchFamily="18" charset="0"/>
              </a:rPr>
              <a:t>Инвестиционная площадка № 5</a:t>
            </a:r>
          </a:p>
        </p:txBody>
      </p:sp>
      <p:pic>
        <p:nvPicPr>
          <p:cNvPr id="4099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53120"/>
            <a:ext cx="3284538" cy="2127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1" name="Рисунок 14" descr="разг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9415" y="1238250"/>
            <a:ext cx="2357437" cy="557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-30163" y="8826663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Разгон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образование, тел. 8(39563) 5-14-10,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-904-128-48-98      </a:t>
            </a:r>
            <a:endParaRPr lang="ru-RU" sz="1400" b="1" dirty="0" smtClean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лицо: Журавлева Регина </a:t>
            </a:r>
            <a:r>
              <a:rPr lang="ru-RU" sz="1400" b="1" dirty="0" err="1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Стасисовна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4" name="Восьмиугольник 13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36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37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6" name="Rectangle 7"/>
          <p:cNvSpPr>
            <a:spLocks noRot="1" noChangeArrowheads="1"/>
          </p:cNvSpPr>
          <p:nvPr/>
        </p:nvSpPr>
        <p:spPr bwMode="auto">
          <a:xfrm>
            <a:off x="0" y="1129904"/>
            <a:ext cx="6858000" cy="624284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>
              <a:solidFill>
                <a:srgbClr val="D6ECFF"/>
              </a:solidFill>
              <a:latin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Шиткин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городское  поселение</a:t>
            </a:r>
          </a:p>
        </p:txBody>
      </p:sp>
      <p:graphicFrame>
        <p:nvGraphicFramePr>
          <p:cNvPr id="58409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196672"/>
              </p:ext>
            </p:extLst>
          </p:nvPr>
        </p:nvGraphicFramePr>
        <p:xfrm>
          <a:off x="0" y="1712914"/>
          <a:ext cx="6858000" cy="5240205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5"/>
                <a:gridCol w="1584176"/>
                <a:gridCol w="4869159"/>
              </a:tblGrid>
              <a:tr h="6012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</a:tr>
              <a:tr h="4137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ркутская обл.,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Тайшетский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район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.п. Шиткино, ул. Комаро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2413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От областного центра 740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т центра муниципального образования – 1,7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От ближайших производственных объектов- 0,3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От ближайших жилых домов – 0,1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 От федеральной трассы – 60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 От ж/д станции – 78 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5258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(нет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8275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Площадь – 5,32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Строения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Возможность расширения - 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8028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Вид собственности – государственная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бремен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Категория земель – земли населенных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пунк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82755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6" marB="49526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Вод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Электроснабжение – есть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Связь –  сотов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pic>
        <p:nvPicPr>
          <p:cNvPr id="42021" name="Picture 41" descr="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38" y="6953120"/>
            <a:ext cx="3357562" cy="2127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-20638" y="815181"/>
            <a:ext cx="6858001" cy="564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6</a:t>
            </a:r>
          </a:p>
        </p:txBody>
      </p:sp>
      <p:pic>
        <p:nvPicPr>
          <p:cNvPr id="4202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86"/>
          <a:stretch>
            <a:fillRect/>
          </a:stretch>
        </p:blipFill>
        <p:spPr bwMode="auto">
          <a:xfrm>
            <a:off x="0" y="6953120"/>
            <a:ext cx="3500438" cy="2127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025" name="Рисунок 14" descr="шиткино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438" y="1738710"/>
            <a:ext cx="2214562" cy="514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-30163" y="8826663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Шиткин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образование, тел.8(39563) 6-75-40,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-924-830-89-90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лицо: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узнецов Иван Викторович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2" name="Восьмиугольник 11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37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147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00" name="Rectangle 7"/>
          <p:cNvSpPr>
            <a:spLocks noRot="1" noChangeArrowheads="1"/>
          </p:cNvSpPr>
          <p:nvPr/>
        </p:nvSpPr>
        <p:spPr bwMode="auto">
          <a:xfrm>
            <a:off x="0" y="1129904"/>
            <a:ext cx="6858000" cy="703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МО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Квиток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 городс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поселени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  <a:cs typeface="Times New Roman" pitchFamily="18" charset="0"/>
              </a:rPr>
              <a:t>Территория бывшей мебельной фабрики</a:t>
            </a:r>
          </a:p>
        </p:txBody>
      </p:sp>
      <p:graphicFrame>
        <p:nvGraphicFramePr>
          <p:cNvPr id="5533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8600351"/>
              </p:ext>
            </p:extLst>
          </p:nvPr>
        </p:nvGraphicFramePr>
        <p:xfrm>
          <a:off x="0" y="1712913"/>
          <a:ext cx="6858000" cy="5256027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95576"/>
                <a:gridCol w="4857760"/>
              </a:tblGrid>
              <a:tr h="4648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</a:tr>
              <a:tr h="3850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ркутская обл.,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Тайшетский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район,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.п. Квито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1463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От областного центра – 700 км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т центра муницип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образования – 1 км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От ближайших производственных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ктов-0,7 км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От жилой зоны – 0,7 км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 От федеральной трассы – 50 км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 От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станции – 7 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4648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(нет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8855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457200" marR="0" lvl="0" indent="-4572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46050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Площадь  – 8 га</a:t>
                      </a:r>
                    </a:p>
                    <a:p>
                      <a:pPr marL="457200" marR="0" lvl="0" indent="-4572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46050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Ограждение – нет</a:t>
                      </a:r>
                    </a:p>
                    <a:p>
                      <a:pPr marL="457200" marR="0" lvl="0" indent="-4572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46050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Строения – разрушенные</a:t>
                      </a:r>
                    </a:p>
                    <a:p>
                      <a:pPr marL="457200" marR="0" lvl="0" indent="-45720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146050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Возможность расширения – 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7938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ид собственности – государственная 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неразграниченная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ремен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Категория земель – не установлен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  <a:tr h="79892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2" marB="4952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Теплоснабж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Водоснабж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Электроснабжение – подключение возможн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Связь – сотов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65315" marR="65315" marT="0" marB="0" horzOverflow="overflow"/>
                </a:tc>
              </a:tr>
            </a:tbl>
          </a:graphicData>
        </a:graphic>
      </p:graphicFrame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717154"/>
            <a:ext cx="68580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</a:t>
            </a:r>
            <a:r>
              <a:rPr lang="ru-RU" sz="2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7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pic>
        <p:nvPicPr>
          <p:cNvPr id="44072" name="Рисунок 7" descr="карта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16" r="34180"/>
          <a:stretch>
            <a:fillRect/>
          </a:stretch>
        </p:blipFill>
        <p:spPr bwMode="auto">
          <a:xfrm>
            <a:off x="4572000" y="1809222"/>
            <a:ext cx="2643188" cy="4928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73" name="Picture 3" descr="квито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6832" y="7047055"/>
            <a:ext cx="3429000" cy="198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-30163" y="8826663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виток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образование, тел. 8 (39563) 6-85-40,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-964-745-69-05 </a:t>
            </a:r>
            <a:endParaRPr lang="ru-RU" sz="1400" b="1" dirty="0" smtClean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ое 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лицо: Агеева Татьяна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Леонтьевна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sp>
        <p:nvSpPr>
          <p:cNvPr id="12" name="Восьмиугольник 11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38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079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4" name="Rectangle 7"/>
          <p:cNvSpPr>
            <a:spLocks noRot="1" noChangeArrowheads="1"/>
          </p:cNvSpPr>
          <p:nvPr/>
        </p:nvSpPr>
        <p:spPr bwMode="auto">
          <a:xfrm>
            <a:off x="0" y="1129904"/>
            <a:ext cx="6858000" cy="851296"/>
          </a:xfrm>
          <a:prstGeom prst="rect">
            <a:avLst/>
          </a:prstGeom>
          <a:solidFill>
            <a:schemeClr val="accent1">
              <a:lumMod val="20000"/>
              <a:lumOff val="80000"/>
              <a:alpha val="30196"/>
            </a:schemeClr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МО  </a:t>
            </a:r>
            <a:r>
              <a:rPr lang="ru-RU" sz="12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Тимирязевкое</a:t>
            </a: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сельское поселение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Территория бывшего машинного двора СХПК «Колхоз им. Тимирязева»</a:t>
            </a:r>
          </a:p>
        </p:txBody>
      </p:sp>
      <p:graphicFrame>
        <p:nvGraphicFramePr>
          <p:cNvPr id="59433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6933258"/>
              </p:ext>
            </p:extLst>
          </p:nvPr>
        </p:nvGraphicFramePr>
        <p:xfrm>
          <a:off x="0" y="1640681"/>
          <a:ext cx="6858000" cy="5455179"/>
        </p:xfrm>
        <a:graphic>
          <a:graphicData uri="http://schemas.openxmlformats.org/drawingml/2006/table">
            <a:tbl>
              <a:tblPr bandRow="1">
                <a:tableStyleId>{08FB837D-C827-4EFA-A057-4D05807E0F7C}</a:tableStyleId>
              </a:tblPr>
              <a:tblGrid>
                <a:gridCol w="404664"/>
                <a:gridCol w="1584175"/>
                <a:gridCol w="4869161"/>
              </a:tblGrid>
              <a:tr h="50861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вободная площадка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</a:tr>
              <a:tr h="3690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сполож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ркутская обл.,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Тайшетский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район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. Тимирязева, ул. Зеленая, 3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12917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ал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От областного центра 680 км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т центра муниципального образования – 0,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От ближайших производственных объектов- 21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От ближайших жилых домов – примыка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 От автодорог федерального назначения – 15 км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. От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станции – 25 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4690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личие подъездных пу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Авто (имеется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Ж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(нет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9488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рритории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Площадь – 4 г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гражд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Строения – есть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Возможность расширения – не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9226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авовой статус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лощадк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ид собственности – государственная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неразграниченная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Обременение – не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Категория земель – земли населенных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пунк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  <a:tr h="9452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рактеристика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нфраструктуры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L="87086" marR="87086" marT="49527" marB="49527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 Теплоснабжение –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Водоснабжение –  не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Электроснабжение – есть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 Связь –  сотов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>
                            <a:lumMod val="25000"/>
                          </a:schemeClr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4191" marR="24191" marT="0" marB="0" horzOverflow="overflow"/>
                </a:tc>
              </a:tr>
            </a:tbl>
          </a:graphicData>
        </a:graphic>
      </p:graphicFrame>
      <p:sp>
        <p:nvSpPr>
          <p:cNvPr id="11" name="Rectangle 2"/>
          <p:cNvSpPr>
            <a:spLocks noRot="1" noChangeArrowheads="1"/>
          </p:cNvSpPr>
          <p:nvPr/>
        </p:nvSpPr>
        <p:spPr bwMode="auto">
          <a:xfrm>
            <a:off x="0" y="660400"/>
            <a:ext cx="6858000" cy="46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2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Инвестиционная площадка № </a:t>
            </a:r>
            <a:r>
              <a:rPr lang="ru-RU" sz="22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</a:t>
            </a:r>
            <a:endParaRPr lang="ru-RU" sz="22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</p:txBody>
      </p:sp>
      <p:pic>
        <p:nvPicPr>
          <p:cNvPr id="45095" name="Рисунок 5" descr="карта6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86" r="35352"/>
          <a:stretch>
            <a:fillRect/>
          </a:stretch>
        </p:blipFill>
        <p:spPr bwMode="auto">
          <a:xfrm>
            <a:off x="4643438" y="1666479"/>
            <a:ext cx="2500312" cy="5143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096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26" t="45070" r="6870" b="8450"/>
          <a:stretch>
            <a:fillRect/>
          </a:stretch>
        </p:blipFill>
        <p:spPr bwMode="auto">
          <a:xfrm>
            <a:off x="0" y="7025349"/>
            <a:ext cx="6858000" cy="2055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-30163" y="8872386"/>
            <a:ext cx="6918326" cy="954107"/>
          </a:xfrm>
          <a:prstGeom prst="rect">
            <a:avLst/>
          </a:prstGeom>
          <a:gradFill>
            <a:gsLst>
              <a:gs pos="0">
                <a:schemeClr val="accent6">
                  <a:lumMod val="5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Контактная информация: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Тимирязевское</a:t>
            </a: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муниципальное образование, тел. </a:t>
            </a: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89016336315, </a:t>
            </a: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тел. 8-914-940-09-20;</a:t>
            </a:r>
            <a:endParaRPr lang="ru-RU" sz="1400" b="1" dirty="0">
              <a:solidFill>
                <a:srgbClr val="4E5B6F">
                  <a:lumMod val="25000"/>
                </a:srgbClr>
              </a:solidFill>
              <a:latin typeface="Times New Roman" pitchFamily="18" charset="0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4E5B6F">
                    <a:lumMod val="25000"/>
                  </a:srgbClr>
                </a:solidFill>
                <a:latin typeface="Times New Roman" pitchFamily="18" charset="0"/>
              </a:rPr>
              <a:t> Контактное лицо: </a:t>
            </a:r>
            <a:r>
              <a:rPr lang="ru-RU" sz="1400" b="1" dirty="0" smtClean="0">
                <a:solidFill>
                  <a:prstClr val="black"/>
                </a:solidFill>
                <a:latin typeface="Times New Roman" pitchFamily="18" charset="0"/>
              </a:rPr>
              <a:t>Агапова Лариса Юрьевна</a:t>
            </a:r>
            <a:endParaRPr lang="ru-RU" sz="1400" b="1" dirty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0" name="Восьмиугольник 9"/>
          <p:cNvSpPr/>
          <p:nvPr/>
        </p:nvSpPr>
        <p:spPr bwMode="auto">
          <a:xfrm>
            <a:off x="6237314" y="9399496"/>
            <a:ext cx="504057" cy="434275"/>
          </a:xfrm>
          <a:prstGeom prst="octago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39</a:t>
            </a:r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425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SD6Va4uEqOEnOz70Jz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hHCRxg_0G2GuMhh9Er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0jvcViJESuuAb3GSl9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4OjW97YUCKe5sQ.cl5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574TGp_natural_light_ani">
  <a:themeElements>
    <a:clrScheme name="Базовая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629DD1"/>
      </a:accent1>
      <a:accent2>
        <a:srgbClr val="297FD5"/>
      </a:accent2>
      <a:accent3>
        <a:srgbClr val="7F8FA9"/>
      </a:accent3>
      <a:accent4>
        <a:srgbClr val="4A66AC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808080"/>
        </a:dk1>
        <a:lt1>
          <a:srgbClr val="EADCC0"/>
        </a:lt1>
        <a:dk2>
          <a:srgbClr val="F97407"/>
        </a:dk2>
        <a:lt2>
          <a:srgbClr val="E65D00"/>
        </a:lt2>
        <a:accent1>
          <a:srgbClr val="FBCF2D"/>
        </a:accent1>
        <a:accent2>
          <a:srgbClr val="5C8CDA"/>
        </a:accent2>
        <a:accent3>
          <a:srgbClr val="FBBCAA"/>
        </a:accent3>
        <a:accent4>
          <a:srgbClr val="C8BCA4"/>
        </a:accent4>
        <a:accent5>
          <a:srgbClr val="FDE4AD"/>
        </a:accent5>
        <a:accent6>
          <a:srgbClr val="537EC5"/>
        </a:accent6>
        <a:hlink>
          <a:srgbClr val="87D242"/>
        </a:hlink>
        <a:folHlink>
          <a:srgbClr val="DA647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808080"/>
        </a:dk1>
        <a:lt1>
          <a:srgbClr val="9BD3E5"/>
        </a:lt1>
        <a:dk2>
          <a:srgbClr val="357DA9"/>
        </a:dk2>
        <a:lt2>
          <a:srgbClr val="101C56"/>
        </a:lt2>
        <a:accent1>
          <a:srgbClr val="58BECC"/>
        </a:accent1>
        <a:accent2>
          <a:srgbClr val="8A5BDF"/>
        </a:accent2>
        <a:accent3>
          <a:srgbClr val="AEBFD1"/>
        </a:accent3>
        <a:accent4>
          <a:srgbClr val="84B4C3"/>
        </a:accent4>
        <a:accent5>
          <a:srgbClr val="B4DBE2"/>
        </a:accent5>
        <a:accent6>
          <a:srgbClr val="7D52CA"/>
        </a:accent6>
        <a:hlink>
          <a:srgbClr val="6ECC4C"/>
        </a:hlink>
        <a:folHlink>
          <a:srgbClr val="DD693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808080"/>
        </a:dk1>
        <a:lt1>
          <a:srgbClr val="DDE89A"/>
        </a:lt1>
        <a:dk2>
          <a:srgbClr val="329A2A"/>
        </a:dk2>
        <a:lt2>
          <a:srgbClr val="185E25"/>
        </a:lt2>
        <a:accent1>
          <a:srgbClr val="80CB35"/>
        </a:accent1>
        <a:accent2>
          <a:srgbClr val="518CD3"/>
        </a:accent2>
        <a:accent3>
          <a:srgbClr val="ADCAAC"/>
        </a:accent3>
        <a:accent4>
          <a:srgbClr val="BDC683"/>
        </a:accent4>
        <a:accent5>
          <a:srgbClr val="C0E2AE"/>
        </a:accent5>
        <a:accent6>
          <a:srgbClr val="497EBF"/>
        </a:accent6>
        <a:hlink>
          <a:srgbClr val="E15D7C"/>
        </a:hlink>
        <a:folHlink>
          <a:srgbClr val="DB915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24</TotalTime>
  <Words>2891</Words>
  <Application>Microsoft Office PowerPoint</Application>
  <PresentationFormat>Лист A4 (210x297 мм)</PresentationFormat>
  <Paragraphs>763</Paragraphs>
  <Slides>17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0" baseType="lpstr">
      <vt:lpstr>2_574TGp_natural_light_ani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meGallery PowerTemplate</dc:title>
  <dc:creator>Масленникова Евгения Владимировна</dc:creator>
  <cp:lastModifiedBy>И.М. Тютрина</cp:lastModifiedBy>
  <cp:revision>2339</cp:revision>
  <cp:lastPrinted>2015-12-11T02:16:47Z</cp:lastPrinted>
  <dcterms:created xsi:type="dcterms:W3CDTF">2013-03-27T09:36:36Z</dcterms:created>
  <dcterms:modified xsi:type="dcterms:W3CDTF">2023-05-04T02:42:33Z</dcterms:modified>
</cp:coreProperties>
</file>